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35"/>
  </p:notesMasterIdLst>
  <p:sldIdLst>
    <p:sldId id="257" r:id="rId5"/>
    <p:sldId id="2147470184" r:id="rId6"/>
    <p:sldId id="2146847043" r:id="rId7"/>
    <p:sldId id="300" r:id="rId8"/>
    <p:sldId id="2147470223" r:id="rId9"/>
    <p:sldId id="2147470222" r:id="rId10"/>
    <p:sldId id="2147470259" r:id="rId11"/>
    <p:sldId id="2147470256" r:id="rId12"/>
    <p:sldId id="2147470269" r:id="rId13"/>
    <p:sldId id="2147470263" r:id="rId14"/>
    <p:sldId id="2147470270" r:id="rId15"/>
    <p:sldId id="2147470264" r:id="rId16"/>
    <p:sldId id="2147470271" r:id="rId17"/>
    <p:sldId id="2147470265" r:id="rId18"/>
    <p:sldId id="2147470272" r:id="rId19"/>
    <p:sldId id="2147470266" r:id="rId20"/>
    <p:sldId id="2147470273" r:id="rId21"/>
    <p:sldId id="2147470257" r:id="rId22"/>
    <p:sldId id="2147470245" r:id="rId23"/>
    <p:sldId id="2147470274" r:id="rId24"/>
    <p:sldId id="2147470235" r:id="rId25"/>
    <p:sldId id="2147470268" r:id="rId26"/>
    <p:sldId id="2147470228" r:id="rId27"/>
    <p:sldId id="2147470227" r:id="rId28"/>
    <p:sldId id="2147470226" r:id="rId29"/>
    <p:sldId id="2147470225" r:id="rId30"/>
    <p:sldId id="2147470224" r:id="rId31"/>
    <p:sldId id="2147470239" r:id="rId32"/>
    <p:sldId id="2147470244" r:id="rId33"/>
    <p:sldId id="2147374605" r:id="rId3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22"/>
            <p14:sldId id="2147470259"/>
            <p14:sldId id="2147470256"/>
            <p14:sldId id="2147470269"/>
            <p14:sldId id="2147470263"/>
            <p14:sldId id="2147470270"/>
            <p14:sldId id="2147470264"/>
            <p14:sldId id="2147470271"/>
            <p14:sldId id="2147470265"/>
            <p14:sldId id="2147470272"/>
            <p14:sldId id="2147470266"/>
            <p14:sldId id="2147470273"/>
            <p14:sldId id="2147470257"/>
            <p14:sldId id="2147470245"/>
            <p14:sldId id="2147470274"/>
            <p14:sldId id="2147470235"/>
            <p14:sldId id="2147470268"/>
            <p14:sldId id="2147470228"/>
            <p14:sldId id="2147470227"/>
            <p14:sldId id="2147470226"/>
            <p14:sldId id="2147470225"/>
            <p14:sldId id="2147470224"/>
            <p14:sldId id="2147470239"/>
          </p14:sldIdLst>
        </p14:section>
        <p14:section name="Teste Multicluster" id="{5C627118-ABA7-4617-AC3B-978F7BDC5C1B}">
          <p14:sldIdLst>
            <p14:sldId id="2147470244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6082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82D812-859D-4253-8A7D-FFACD1E0F665}" v="25" dt="2025-07-25T11:30:50.3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72" autoAdjust="0"/>
    <p:restoredTop sz="94660"/>
  </p:normalViewPr>
  <p:slideViewPr>
    <p:cSldViewPr snapToGrid="0">
      <p:cViewPr varScale="1">
        <p:scale>
          <a:sx n="83" d="100"/>
          <a:sy n="83" d="100"/>
        </p:scale>
        <p:origin x="76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D182D812-859D-4253-8A7D-FFACD1E0F665}"/>
    <pc:docChg chg="undo redo custSel addSld delSld modSld modSection">
      <pc:chgData name="Alexandre Zanetti de Almeida" userId="129d4ce6-e715-4d33-b4c4-312f1656225b" providerId="ADAL" clId="{D182D812-859D-4253-8A7D-FFACD1E0F665}" dt="2025-07-25T11:31:14.948" v="743" actId="108"/>
      <pc:docMkLst>
        <pc:docMk/>
      </pc:docMkLst>
      <pc:sldChg chg="modSp mod">
        <pc:chgData name="Alexandre Zanetti de Almeida" userId="129d4ce6-e715-4d33-b4c4-312f1656225b" providerId="ADAL" clId="{D182D812-859D-4253-8A7D-FFACD1E0F665}" dt="2025-07-24T17:59:45.649" v="474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D182D812-859D-4253-8A7D-FFACD1E0F665}" dt="2025-07-24T17:59:45.649" v="474" actId="20577"/>
          <ac:spMkLst>
            <pc:docMk/>
            <pc:sldMk cId="3565198220" sldId="257"/>
            <ac:spMk id="14" creationId="{58A75E89-8A5E-9C4E-8913-431969C8D27C}"/>
          </ac:spMkLst>
        </pc:spChg>
      </pc:sldChg>
      <pc:sldChg chg="addSp delSp modSp mod modAnim">
        <pc:chgData name="Alexandre Zanetti de Almeida" userId="129d4ce6-e715-4d33-b4c4-312f1656225b" providerId="ADAL" clId="{D182D812-859D-4253-8A7D-FFACD1E0F665}" dt="2025-07-24T10:55:32.408" v="465" actId="20577"/>
        <pc:sldMkLst>
          <pc:docMk/>
          <pc:sldMk cId="3975066529" sldId="2147470245"/>
        </pc:sldMkLst>
        <pc:spChg chg="del">
          <ac:chgData name="Alexandre Zanetti de Almeida" userId="129d4ce6-e715-4d33-b4c4-312f1656225b" providerId="ADAL" clId="{D182D812-859D-4253-8A7D-FFACD1E0F665}" dt="2025-07-24T10:43:03.508" v="2" actId="478"/>
          <ac:spMkLst>
            <pc:docMk/>
            <pc:sldMk cId="3975066529" sldId="2147470245"/>
            <ac:spMk id="8" creationId="{BB280295-31B0-824E-3881-40C64137618C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9" creationId="{7296DA28-2CF0-53E4-B557-497FA0DADF74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11" creationId="{35917ABA-B6FF-E4D9-E3A9-E47ECA7F6DEA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13" creationId="{B5E87DF1-15E0-A4B8-FF64-A952218A656C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14" creationId="{0CEAA5BD-F6E9-5D07-1EE8-6230F741CA08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16" creationId="{19D210A9-EC96-1E5C-AD42-ADEE0A1E4B3B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32" creationId="{FBD14A4D-2632-384E-CDA4-D194D2CCA7BC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34" creationId="{852BF676-A0A0-D66A-E2B7-61732170D9D3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35" creationId="{BF3F3F9B-B15F-FEF0-CB91-9B2579F5F90A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36" creationId="{7D357924-DDAE-CDF4-2365-C27E920C7210}"/>
          </ac:spMkLst>
        </pc:spChg>
        <pc:spChg chg="add del mod">
          <ac:chgData name="Alexandre Zanetti de Almeida" userId="129d4ce6-e715-4d33-b4c4-312f1656225b" providerId="ADAL" clId="{D182D812-859D-4253-8A7D-FFACD1E0F665}" dt="2025-07-24T10:43:04.478" v="3" actId="478"/>
          <ac:spMkLst>
            <pc:docMk/>
            <pc:sldMk cId="3975066529" sldId="2147470245"/>
            <ac:spMk id="42" creationId="{D6C6B860-846C-BE09-A416-E992DAB1967C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3" creationId="{7499B567-F417-E5E8-58AA-8B9F706E5E4D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4" creationId="{CF09778B-3504-6D7D-1A93-50F5EC8024D0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5" creationId="{3020CD81-9240-FA58-3A2F-45FD9DD7FBAF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6" creationId="{4F998279-FF60-0D95-441F-5BAF8EC92A0E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7" creationId="{28B5BD70-4039-D7BE-4A62-1CEA20878021}"/>
          </ac:spMkLst>
        </pc:spChg>
        <pc:spChg chg="add mod">
          <ac:chgData name="Alexandre Zanetti de Almeida" userId="129d4ce6-e715-4d33-b4c4-312f1656225b" providerId="ADAL" clId="{D182D812-859D-4253-8A7D-FFACD1E0F665}" dt="2025-07-24T10:43:04.995" v="4"/>
          <ac:spMkLst>
            <pc:docMk/>
            <pc:sldMk cId="3975066529" sldId="2147470245"/>
            <ac:spMk id="48" creationId="{35A76FF4-44D6-3857-2725-8421138EEF51}"/>
          </ac:spMkLst>
        </pc:spChg>
        <pc:spChg chg="mod topLvl">
          <ac:chgData name="Alexandre Zanetti de Almeida" userId="129d4ce6-e715-4d33-b4c4-312f1656225b" providerId="ADAL" clId="{D182D812-859D-4253-8A7D-FFACD1E0F665}" dt="2025-07-24T10:54:50.010" v="430" actId="14100"/>
          <ac:spMkLst>
            <pc:docMk/>
            <pc:sldMk cId="3975066529" sldId="2147470245"/>
            <ac:spMk id="50" creationId="{B965F3BC-AA6A-5D2C-B1DC-C8925CCB4CF7}"/>
          </ac:spMkLst>
        </pc:spChg>
        <pc:spChg chg="mod topLvl">
          <ac:chgData name="Alexandre Zanetti de Almeida" userId="129d4ce6-e715-4d33-b4c4-312f1656225b" providerId="ADAL" clId="{D182D812-859D-4253-8A7D-FFACD1E0F665}" dt="2025-07-24T10:50:34.844" v="255" actId="20577"/>
          <ac:spMkLst>
            <pc:docMk/>
            <pc:sldMk cId="3975066529" sldId="2147470245"/>
            <ac:spMk id="51" creationId="{F4AC1F77-D4D9-9B07-3A2C-E9CC7F1332F8}"/>
          </ac:spMkLst>
        </pc:spChg>
        <pc:spChg chg="mod topLvl">
          <ac:chgData name="Alexandre Zanetti de Almeida" userId="129d4ce6-e715-4d33-b4c4-312f1656225b" providerId="ADAL" clId="{D182D812-859D-4253-8A7D-FFACD1E0F665}" dt="2025-07-24T10:50:38.415" v="263" actId="20577"/>
          <ac:spMkLst>
            <pc:docMk/>
            <pc:sldMk cId="3975066529" sldId="2147470245"/>
            <ac:spMk id="54" creationId="{60D9311D-D7D2-B058-B0F0-A05BDC7BCEE7}"/>
          </ac:spMkLst>
        </pc:spChg>
        <pc:spChg chg="add mod">
          <ac:chgData name="Alexandre Zanetti de Almeida" userId="129d4ce6-e715-4d33-b4c4-312f1656225b" providerId="ADAL" clId="{D182D812-859D-4253-8A7D-FFACD1E0F665}" dt="2025-07-24T10:55:32.408" v="465" actId="20577"/>
          <ac:spMkLst>
            <pc:docMk/>
            <pc:sldMk cId="3975066529" sldId="2147470245"/>
            <ac:spMk id="58" creationId="{439FD31D-2D52-F92B-57D4-4858C36B0782}"/>
          </ac:spMkLst>
        </pc:spChg>
        <pc:spChg chg="add mod">
          <ac:chgData name="Alexandre Zanetti de Almeida" userId="129d4ce6-e715-4d33-b4c4-312f1656225b" providerId="ADAL" clId="{D182D812-859D-4253-8A7D-FFACD1E0F665}" dt="2025-07-24T10:55:22.556" v="457" actId="20577"/>
          <ac:spMkLst>
            <pc:docMk/>
            <pc:sldMk cId="3975066529" sldId="2147470245"/>
            <ac:spMk id="61" creationId="{D4593B1E-1F95-F476-BAD8-8F7A2997593B}"/>
          </ac:spMkLst>
        </pc:spChg>
        <pc:spChg chg="del">
          <ac:chgData name="Alexandre Zanetti de Almeida" userId="129d4ce6-e715-4d33-b4c4-312f1656225b" providerId="ADAL" clId="{D182D812-859D-4253-8A7D-FFACD1E0F665}" dt="2025-07-24T10:43:01.343" v="1" actId="478"/>
          <ac:spMkLst>
            <pc:docMk/>
            <pc:sldMk cId="3975066529" sldId="2147470245"/>
            <ac:spMk id="71" creationId="{9486FCA2-793E-AE65-F424-88F09D02A350}"/>
          </ac:spMkLst>
        </pc:spChg>
        <pc:grpChg chg="del">
          <ac:chgData name="Alexandre Zanetti de Almeida" userId="129d4ce6-e715-4d33-b4c4-312f1656225b" providerId="ADAL" clId="{D182D812-859D-4253-8A7D-FFACD1E0F665}" dt="2025-07-24T10:43:19.384" v="5" actId="165"/>
          <ac:grpSpMkLst>
            <pc:docMk/>
            <pc:sldMk cId="3975066529" sldId="2147470245"/>
            <ac:grpSpMk id="49" creationId="{A4515E50-034B-4B0E-5700-F84EC592C849}"/>
          </ac:grpSpMkLst>
        </pc:grpChg>
        <pc:grpChg chg="add mod">
          <ac:chgData name="Alexandre Zanetti de Almeida" userId="129d4ce6-e715-4d33-b4c4-312f1656225b" providerId="ADAL" clId="{D182D812-859D-4253-8A7D-FFACD1E0F665}" dt="2025-07-24T10:54:39.058" v="428" actId="1076"/>
          <ac:grpSpMkLst>
            <pc:docMk/>
            <pc:sldMk cId="3975066529" sldId="2147470245"/>
            <ac:grpSpMk id="56" creationId="{5E95DEFF-E351-9444-A979-E62D96D08284}"/>
          </ac:grpSpMkLst>
        </pc:grpChg>
        <pc:grpChg chg="add mod">
          <ac:chgData name="Alexandre Zanetti de Almeida" userId="129d4ce6-e715-4d33-b4c4-312f1656225b" providerId="ADAL" clId="{D182D812-859D-4253-8A7D-FFACD1E0F665}" dt="2025-07-24T10:54:55.197" v="437" actId="1037"/>
          <ac:grpSpMkLst>
            <pc:docMk/>
            <pc:sldMk cId="3975066529" sldId="2147470245"/>
            <ac:grpSpMk id="57" creationId="{2B2BDBCF-5618-7532-1158-39680253198B}"/>
          </ac:grpSpMkLst>
        </pc:grpChg>
        <pc:picChg chg="mod topLvl">
          <ac:chgData name="Alexandre Zanetti de Almeida" userId="129d4ce6-e715-4d33-b4c4-312f1656225b" providerId="ADAL" clId="{D182D812-859D-4253-8A7D-FFACD1E0F665}" dt="2025-07-24T10:55:04.766" v="441" actId="1035"/>
          <ac:picMkLst>
            <pc:docMk/>
            <pc:sldMk cId="3975066529" sldId="2147470245"/>
            <ac:picMk id="52" creationId="{E3E6E747-9178-08BD-5270-C4BE85C5276E}"/>
          </ac:picMkLst>
        </pc:picChg>
        <pc:picChg chg="mod topLvl">
          <ac:chgData name="Alexandre Zanetti de Almeida" userId="129d4ce6-e715-4d33-b4c4-312f1656225b" providerId="ADAL" clId="{D182D812-859D-4253-8A7D-FFACD1E0F665}" dt="2025-07-24T10:50:50.546" v="266" actId="1076"/>
          <ac:picMkLst>
            <pc:docMk/>
            <pc:sldMk cId="3975066529" sldId="2147470245"/>
            <ac:picMk id="53" creationId="{6F76DD90-430A-3F3A-660A-CE24B7642027}"/>
          </ac:picMkLst>
        </pc:picChg>
        <pc:picChg chg="mod topLvl">
          <ac:chgData name="Alexandre Zanetti de Almeida" userId="129d4ce6-e715-4d33-b4c4-312f1656225b" providerId="ADAL" clId="{D182D812-859D-4253-8A7D-FFACD1E0F665}" dt="2025-07-24T10:50:57.254" v="267" actId="1076"/>
          <ac:picMkLst>
            <pc:docMk/>
            <pc:sldMk cId="3975066529" sldId="2147470245"/>
            <ac:picMk id="55" creationId="{331F61CA-E78D-151C-27D6-8C6A76EAE309}"/>
          </ac:picMkLst>
        </pc:picChg>
        <pc:picChg chg="add mod modCrop">
          <ac:chgData name="Alexandre Zanetti de Almeida" userId="129d4ce6-e715-4d33-b4c4-312f1656225b" providerId="ADAL" clId="{D182D812-859D-4253-8A7D-FFACD1E0F665}" dt="2025-07-24T10:54:39.058" v="428" actId="1076"/>
          <ac:picMkLst>
            <pc:docMk/>
            <pc:sldMk cId="3975066529" sldId="2147470245"/>
            <ac:picMk id="60" creationId="{E8AE9059-3D16-C0F6-CD26-F5AAE6B0624E}"/>
          </ac:picMkLst>
        </pc:picChg>
        <pc:picChg chg="add mod">
          <ac:chgData name="Alexandre Zanetti de Almeida" userId="129d4ce6-e715-4d33-b4c4-312f1656225b" providerId="ADAL" clId="{D182D812-859D-4253-8A7D-FFACD1E0F665}" dt="2025-07-24T10:54:55.197" v="437" actId="1037"/>
          <ac:picMkLst>
            <pc:docMk/>
            <pc:sldMk cId="3975066529" sldId="2147470245"/>
            <ac:picMk id="62" creationId="{79D6BF57-20E2-18DC-D6A0-5FE1D2EA65FE}"/>
          </ac:picMkLst>
        </pc:picChg>
      </pc:sldChg>
      <pc:sldChg chg="modSp mod">
        <pc:chgData name="Alexandre Zanetti de Almeida" userId="129d4ce6-e715-4d33-b4c4-312f1656225b" providerId="ADAL" clId="{D182D812-859D-4253-8A7D-FFACD1E0F665}" dt="2025-07-25T11:31:14.948" v="743" actId="108"/>
        <pc:sldMkLst>
          <pc:docMk/>
          <pc:sldMk cId="3357642481" sldId="2147470269"/>
        </pc:sldMkLst>
        <pc:spChg chg="mod">
          <ac:chgData name="Alexandre Zanetti de Almeida" userId="129d4ce6-e715-4d33-b4c4-312f1656225b" providerId="ADAL" clId="{D182D812-859D-4253-8A7D-FFACD1E0F665}" dt="2025-07-25T11:31:14.948" v="743" actId="108"/>
          <ac:spMkLst>
            <pc:docMk/>
            <pc:sldMk cId="3357642481" sldId="2147470269"/>
            <ac:spMk id="24" creationId="{DED771C5-33D7-5DFC-066C-05C77474123C}"/>
          </ac:spMkLst>
        </pc:spChg>
        <pc:spChg chg="mod">
          <ac:chgData name="Alexandre Zanetti de Almeida" userId="129d4ce6-e715-4d33-b4c4-312f1656225b" providerId="ADAL" clId="{D182D812-859D-4253-8A7D-FFACD1E0F665}" dt="2025-07-25T10:30:57.168" v="713" actId="20577"/>
          <ac:spMkLst>
            <pc:docMk/>
            <pc:sldMk cId="3357642481" sldId="2147470269"/>
            <ac:spMk id="29" creationId="{C8CE7E6A-BE1C-7860-1389-3016B15B1CED}"/>
          </ac:spMkLst>
        </pc:spChg>
      </pc:sldChg>
      <pc:sldChg chg="modSp mod">
        <pc:chgData name="Alexandre Zanetti de Almeida" userId="129d4ce6-e715-4d33-b4c4-312f1656225b" providerId="ADAL" clId="{D182D812-859D-4253-8A7D-FFACD1E0F665}" dt="2025-07-25T11:31:13.043" v="741" actId="108"/>
        <pc:sldMkLst>
          <pc:docMk/>
          <pc:sldMk cId="3633522362" sldId="2147470270"/>
        </pc:sldMkLst>
        <pc:spChg chg="mod">
          <ac:chgData name="Alexandre Zanetti de Almeida" userId="129d4ce6-e715-4d33-b4c4-312f1656225b" providerId="ADAL" clId="{D182D812-859D-4253-8A7D-FFACD1E0F665}" dt="2025-07-25T11:31:13.043" v="741" actId="108"/>
          <ac:spMkLst>
            <pc:docMk/>
            <pc:sldMk cId="3633522362" sldId="2147470270"/>
            <ac:spMk id="24" creationId="{5365ED1C-A159-3203-18E0-33FCF7FEDA2D}"/>
          </ac:spMkLst>
        </pc:spChg>
      </pc:sldChg>
      <pc:sldChg chg="modSp mod">
        <pc:chgData name="Alexandre Zanetti de Almeida" userId="129d4ce6-e715-4d33-b4c4-312f1656225b" providerId="ADAL" clId="{D182D812-859D-4253-8A7D-FFACD1E0F665}" dt="2025-07-25T11:31:11.042" v="739" actId="108"/>
        <pc:sldMkLst>
          <pc:docMk/>
          <pc:sldMk cId="3765056613" sldId="2147470271"/>
        </pc:sldMkLst>
        <pc:spChg chg="mod">
          <ac:chgData name="Alexandre Zanetti de Almeida" userId="129d4ce6-e715-4d33-b4c4-312f1656225b" providerId="ADAL" clId="{D182D812-859D-4253-8A7D-FFACD1E0F665}" dt="2025-07-25T11:31:11.042" v="739" actId="108"/>
          <ac:spMkLst>
            <pc:docMk/>
            <pc:sldMk cId="3765056613" sldId="2147470271"/>
            <ac:spMk id="24" creationId="{CF81BF84-662F-21C3-89CF-772E36C2DB0F}"/>
          </ac:spMkLst>
        </pc:spChg>
      </pc:sldChg>
      <pc:sldChg chg="modSp mod">
        <pc:chgData name="Alexandre Zanetti de Almeida" userId="129d4ce6-e715-4d33-b4c4-312f1656225b" providerId="ADAL" clId="{D182D812-859D-4253-8A7D-FFACD1E0F665}" dt="2025-07-25T11:31:02.210" v="731" actId="108"/>
        <pc:sldMkLst>
          <pc:docMk/>
          <pc:sldMk cId="1208368132" sldId="2147470272"/>
        </pc:sldMkLst>
        <pc:spChg chg="mod">
          <ac:chgData name="Alexandre Zanetti de Almeida" userId="129d4ce6-e715-4d33-b4c4-312f1656225b" providerId="ADAL" clId="{D182D812-859D-4253-8A7D-FFACD1E0F665}" dt="2025-07-25T11:31:02.210" v="731" actId="108"/>
          <ac:spMkLst>
            <pc:docMk/>
            <pc:sldMk cId="1208368132" sldId="2147470272"/>
            <ac:spMk id="24" creationId="{355413C1-B0D7-8AE7-CF73-FD986BF2B363}"/>
          </ac:spMkLst>
        </pc:spChg>
        <pc:spChg chg="mod">
          <ac:chgData name="Alexandre Zanetti de Almeida" userId="129d4ce6-e715-4d33-b4c4-312f1656225b" providerId="ADAL" clId="{D182D812-859D-4253-8A7D-FFACD1E0F665}" dt="2025-07-24T19:25:00.671" v="693" actId="6549"/>
          <ac:spMkLst>
            <pc:docMk/>
            <pc:sldMk cId="1208368132" sldId="2147470272"/>
            <ac:spMk id="29" creationId="{0BEB8AA8-C8F7-3B38-C58C-75CB5AE33F40}"/>
          </ac:spMkLst>
        </pc:spChg>
      </pc:sldChg>
      <pc:sldChg chg="modSp mod">
        <pc:chgData name="Alexandre Zanetti de Almeida" userId="129d4ce6-e715-4d33-b4c4-312f1656225b" providerId="ADAL" clId="{D182D812-859D-4253-8A7D-FFACD1E0F665}" dt="2025-07-25T11:31:06.230" v="737" actId="108"/>
        <pc:sldMkLst>
          <pc:docMk/>
          <pc:sldMk cId="1486257267" sldId="2147470273"/>
        </pc:sldMkLst>
        <pc:spChg chg="mod">
          <ac:chgData name="Alexandre Zanetti de Almeida" userId="129d4ce6-e715-4d33-b4c4-312f1656225b" providerId="ADAL" clId="{D182D812-859D-4253-8A7D-FFACD1E0F665}" dt="2025-07-25T11:31:06.230" v="737" actId="108"/>
          <ac:spMkLst>
            <pc:docMk/>
            <pc:sldMk cId="1486257267" sldId="2147470273"/>
            <ac:spMk id="24" creationId="{75D44B86-6F01-BD07-5F76-A0CAE83104C4}"/>
          </ac:spMkLst>
        </pc:spChg>
      </pc:sldChg>
      <pc:sldChg chg="add">
        <pc:chgData name="Alexandre Zanetti de Almeida" userId="129d4ce6-e715-4d33-b4c4-312f1656225b" providerId="ADAL" clId="{D182D812-859D-4253-8A7D-FFACD1E0F665}" dt="2025-07-24T10:42:57.431" v="0" actId="2890"/>
        <pc:sldMkLst>
          <pc:docMk/>
          <pc:sldMk cId="2094473572" sldId="2147470274"/>
        </pc:sldMkLst>
      </pc:sldChg>
      <pc:sldChg chg="add del">
        <pc:chgData name="Alexandre Zanetti de Almeida" userId="129d4ce6-e715-4d33-b4c4-312f1656225b" providerId="ADAL" clId="{D182D812-859D-4253-8A7D-FFACD1E0F665}" dt="2025-07-24T10:57:36.165" v="468" actId="47"/>
        <pc:sldMkLst>
          <pc:docMk/>
          <pc:sldMk cId="683510225" sldId="2147470275"/>
        </pc:sldMkLst>
      </pc:sldChg>
    </pc:docChg>
  </pc:docChgLst>
  <pc:docChgLst>
    <pc:chgData name="Alexandre Zanetti de Almeida" userId="129d4ce6-e715-4d33-b4c4-312f1656225b" providerId="ADAL" clId="{1ED0CCF9-60EA-4760-B378-AE85636A6826}"/>
    <pc:docChg chg="undo custSel addSld modSld sldOrd modSection">
      <pc:chgData name="Alexandre Zanetti de Almeida" userId="129d4ce6-e715-4d33-b4c4-312f1656225b" providerId="ADAL" clId="{1ED0CCF9-60EA-4760-B378-AE85636A6826}" dt="2025-06-05T13:04:45.181" v="288" actId="478"/>
      <pc:docMkLst>
        <pc:docMk/>
      </pc:docMkLst>
      <pc:sldChg chg="modSp mod">
        <pc:chgData name="Alexandre Zanetti de Almeida" userId="129d4ce6-e715-4d33-b4c4-312f1656225b" providerId="ADAL" clId="{1ED0CCF9-60EA-4760-B378-AE85636A6826}" dt="2025-05-26T12:43:37.905" v="8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1ED0CCF9-60EA-4760-B378-AE85636A6826}" dt="2025-05-26T12:43:37.905" v="8" actId="20577"/>
          <ac:spMkLst>
            <pc:docMk/>
            <pc:sldMk cId="3565198220" sldId="257"/>
            <ac:spMk id="14" creationId="{58A75E89-8A5E-9C4E-8913-431969C8D27C}"/>
          </ac:spMkLst>
        </pc:spChg>
      </pc:sldChg>
      <pc:sldChg chg="modSp add mod ord modShow">
        <pc:chgData name="Alexandre Zanetti de Almeida" userId="129d4ce6-e715-4d33-b4c4-312f1656225b" providerId="ADAL" clId="{1ED0CCF9-60EA-4760-B378-AE85636A6826}" dt="2025-05-26T12:57:16.559" v="241" actId="729"/>
        <pc:sldMkLst>
          <pc:docMk/>
          <pc:sldMk cId="2817282654" sldId="2147470250"/>
        </pc:sldMkLst>
      </pc:sldChg>
      <pc:sldChg chg="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57506138" sldId="2147470251"/>
        </pc:sldMkLst>
      </pc:sldChg>
      <pc:sldChg chg="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481838124" sldId="2147470252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1173113283" sldId="2147470253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20244889" sldId="2147470254"/>
        </pc:sldMkLst>
      </pc:sldChg>
      <pc:sldChg chg="addSp delSp modSp add mod modShow">
        <pc:chgData name="Alexandre Zanetti de Almeida" userId="129d4ce6-e715-4d33-b4c4-312f1656225b" providerId="ADAL" clId="{1ED0CCF9-60EA-4760-B378-AE85636A6826}" dt="2025-05-26T12:56:14.891" v="163" actId="729"/>
        <pc:sldMkLst>
          <pc:docMk/>
          <pc:sldMk cId="420519257" sldId="2147470255"/>
        </pc:sldMkLst>
      </pc:sldChg>
      <pc:sldChg chg="addSp modSp add mod">
        <pc:chgData name="Alexandre Zanetti de Almeida" userId="129d4ce6-e715-4d33-b4c4-312f1656225b" providerId="ADAL" clId="{1ED0CCF9-60EA-4760-B378-AE85636A6826}" dt="2025-06-05T12:23:25.795" v="258" actId="13926"/>
        <pc:sldMkLst>
          <pc:docMk/>
          <pc:sldMk cId="3197812713" sldId="2147470256"/>
        </pc:sldMkLst>
      </pc:sldChg>
      <pc:sldChg chg="addSp delSp modSp new mod">
        <pc:chgData name="Alexandre Zanetti de Almeida" userId="129d4ce6-e715-4d33-b4c4-312f1656225b" providerId="ADAL" clId="{1ED0CCF9-60EA-4760-B378-AE85636A6826}" dt="2025-06-05T13:04:45.181" v="288" actId="478"/>
        <pc:sldMkLst>
          <pc:docMk/>
          <pc:sldMk cId="133380727" sldId="2147470257"/>
        </pc:sldMkLst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4" creationId="{78E997BD-2EFD-1D31-F558-8F81B797E945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5" creationId="{2B8318AD-913B-8377-C38A-BF896D25B829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6" creationId="{3C56D8F0-1127-89AB-1055-22BA99A31461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7" creationId="{AD02950B-6E30-44E6-B02B-2432BDAFC413}"/>
          </ac:spMkLst>
        </pc:spChg>
        <pc:spChg chg="add mod">
          <ac:chgData name="Alexandre Zanetti de Almeida" userId="129d4ce6-e715-4d33-b4c4-312f1656225b" providerId="ADAL" clId="{1ED0CCF9-60EA-4760-B378-AE85636A6826}" dt="2025-06-05T12:48:29.020" v="261"/>
          <ac:spMkLst>
            <pc:docMk/>
            <pc:sldMk cId="133380727" sldId="2147470257"/>
            <ac:spMk id="8" creationId="{9F980ABE-0ADF-E025-0756-0DC7A8DCAB86}"/>
          </ac:spMkLst>
        </pc:spChg>
        <pc:spChg chg="add mod">
          <ac:chgData name="Alexandre Zanetti de Almeida" userId="129d4ce6-e715-4d33-b4c4-312f1656225b" providerId="ADAL" clId="{1ED0CCF9-60EA-4760-B378-AE85636A6826}" dt="2025-06-05T12:49:05.899" v="271" actId="6549"/>
          <ac:spMkLst>
            <pc:docMk/>
            <pc:sldMk cId="133380727" sldId="2147470257"/>
            <ac:spMk id="9" creationId="{8B035EAD-5601-68BD-812A-127723ACE88B}"/>
          </ac:spMkLst>
        </pc:spChg>
        <pc:graphicFrameChg chg="add mod modGraphic">
          <ac:chgData name="Alexandre Zanetti de Almeida" userId="129d4ce6-e715-4d33-b4c4-312f1656225b" providerId="ADAL" clId="{1ED0CCF9-60EA-4760-B378-AE85636A6826}" dt="2025-06-05T13:04:43.839" v="287" actId="1076"/>
          <ac:graphicFrameMkLst>
            <pc:docMk/>
            <pc:sldMk cId="133380727" sldId="2147470257"/>
            <ac:graphicFrameMk id="11" creationId="{AAA917BB-54B8-4AA3-48D4-24D4E553B783}"/>
          </ac:graphicFrameMkLst>
        </pc:graphicFrameChg>
      </pc:sldChg>
    </pc:docChg>
  </pc:docChgLst>
  <pc:docChgLst>
    <pc:chgData name="Alexandre Zanetti de Almeida" userId="129d4ce6-e715-4d33-b4c4-312f1656225b" providerId="ADAL" clId="{B43CCD4C-FFAF-4F95-BA74-53735DFD9913}"/>
    <pc:docChg chg="undo custSel addSld delSld modSld modSection">
      <pc:chgData name="Alexandre Zanetti de Almeida" userId="129d4ce6-e715-4d33-b4c4-312f1656225b" providerId="ADAL" clId="{B43CCD4C-FFAF-4F95-BA74-53735DFD9913}" dt="2025-04-28T16:29:39.625" v="263" actId="6549"/>
      <pc:docMkLst>
        <pc:docMk/>
      </pc:docMkLst>
      <pc:sldChg chg="addSp delSp modSp mod">
        <pc:chgData name="Alexandre Zanetti de Almeida" userId="129d4ce6-e715-4d33-b4c4-312f1656225b" providerId="ADAL" clId="{B43CCD4C-FFAF-4F95-BA74-53735DFD9913}" dt="2025-04-28T16:29:39.625" v="263" actId="6549"/>
        <pc:sldMkLst>
          <pc:docMk/>
          <pc:sldMk cId="3565198220" sldId="257"/>
        </pc:sldMkLst>
        <pc:spChg chg="add mod">
          <ac:chgData name="Alexandre Zanetti de Almeida" userId="129d4ce6-e715-4d33-b4c4-312f1656225b" providerId="ADAL" clId="{B43CCD4C-FFAF-4F95-BA74-53735DFD9913}" dt="2025-04-28T16:29:39.625" v="263" actId="6549"/>
          <ac:spMkLst>
            <pc:docMk/>
            <pc:sldMk cId="3565198220" sldId="257"/>
            <ac:spMk id="14" creationId="{58A75E89-8A5E-9C4E-8913-431969C8D27C}"/>
          </ac:spMkLst>
        </pc:spChg>
      </pc:sldChg>
      <pc:sldChg chg="addSp delSp modSp mod">
        <pc:chgData name="Alexandre Zanetti de Almeida" userId="129d4ce6-e715-4d33-b4c4-312f1656225b" providerId="ADAL" clId="{B43CCD4C-FFAF-4F95-BA74-53735DFD9913}" dt="2025-04-17T12:34:33.836" v="262"/>
        <pc:sldMkLst>
          <pc:docMk/>
          <pc:sldMk cId="3701231163" sldId="2147374605"/>
        </pc:sldMkLst>
      </pc:sldChg>
      <pc:sldChg chg="addSp delSp modSp mod">
        <pc:chgData name="Alexandre Zanetti de Almeida" userId="129d4ce6-e715-4d33-b4c4-312f1656225b" providerId="ADAL" clId="{B43CCD4C-FFAF-4F95-BA74-53735DFD9913}" dt="2025-04-17T12:32:01.143" v="226"/>
        <pc:sldMkLst>
          <pc:docMk/>
          <pc:sldMk cId="2325758864" sldId="2147470222"/>
        </pc:sldMkLst>
      </pc:sldChg>
      <pc:sldChg chg="addSp delSp modSp mod">
        <pc:chgData name="Alexandre Zanetti de Almeida" userId="129d4ce6-e715-4d33-b4c4-312f1656225b" providerId="ADAL" clId="{B43CCD4C-FFAF-4F95-BA74-53735DFD9913}" dt="2025-04-17T12:33:54.798" v="255"/>
        <pc:sldMkLst>
          <pc:docMk/>
          <pc:sldMk cId="2737501470" sldId="2147470224"/>
        </pc:sldMkLst>
      </pc:sldChg>
      <pc:sldChg chg="addSp delSp modSp mod">
        <pc:chgData name="Alexandre Zanetti de Almeida" userId="129d4ce6-e715-4d33-b4c4-312f1656225b" providerId="ADAL" clId="{B43CCD4C-FFAF-4F95-BA74-53735DFD9913}" dt="2025-04-17T12:33:47.879" v="253"/>
        <pc:sldMkLst>
          <pc:docMk/>
          <pc:sldMk cId="2810827689" sldId="2147470225"/>
        </pc:sldMkLst>
      </pc:sldChg>
      <pc:sldChg chg="addSp delSp modSp mod">
        <pc:chgData name="Alexandre Zanetti de Almeida" userId="129d4ce6-e715-4d33-b4c4-312f1656225b" providerId="ADAL" clId="{B43CCD4C-FFAF-4F95-BA74-53735DFD9913}" dt="2025-04-17T12:33:40.017" v="251"/>
        <pc:sldMkLst>
          <pc:docMk/>
          <pc:sldMk cId="1966549300" sldId="2147470226"/>
        </pc:sldMkLst>
      </pc:sldChg>
      <pc:sldChg chg="addSp delSp modSp mod">
        <pc:chgData name="Alexandre Zanetti de Almeida" userId="129d4ce6-e715-4d33-b4c4-312f1656225b" providerId="ADAL" clId="{B43CCD4C-FFAF-4F95-BA74-53735DFD9913}" dt="2025-04-17T12:33:33.049" v="249"/>
        <pc:sldMkLst>
          <pc:docMk/>
          <pc:sldMk cId="1725103351" sldId="2147470227"/>
        </pc:sldMkLst>
      </pc:sldChg>
      <pc:sldChg chg="addSp delSp modSp mod">
        <pc:chgData name="Alexandre Zanetti de Almeida" userId="129d4ce6-e715-4d33-b4c4-312f1656225b" providerId="ADAL" clId="{B43CCD4C-FFAF-4F95-BA74-53735DFD9913}" dt="2025-04-17T12:33:25.249" v="247"/>
        <pc:sldMkLst>
          <pc:docMk/>
          <pc:sldMk cId="889116542" sldId="2147470228"/>
        </pc:sldMkLst>
      </pc:sldChg>
      <pc:sldChg chg="del">
        <pc:chgData name="Alexandre Zanetti de Almeida" userId="129d4ce6-e715-4d33-b4c4-312f1656225b" providerId="ADAL" clId="{B43CCD4C-FFAF-4F95-BA74-53735DFD9913}" dt="2025-04-17T12:33:59.650" v="256" actId="47"/>
        <pc:sldMkLst>
          <pc:docMk/>
          <pc:sldMk cId="1016236958" sldId="2147470229"/>
        </pc:sldMkLst>
      </pc:sldChg>
      <pc:sldChg chg="del">
        <pc:chgData name="Alexandre Zanetti de Almeida" userId="129d4ce6-e715-4d33-b4c4-312f1656225b" providerId="ADAL" clId="{B43CCD4C-FFAF-4F95-BA74-53735DFD9913}" dt="2025-04-17T12:34:11.898" v="257" actId="47"/>
        <pc:sldMkLst>
          <pc:docMk/>
          <pc:sldMk cId="1072401756" sldId="2147470230"/>
        </pc:sldMkLst>
      </pc:sldChg>
      <pc:sldChg chg="del">
        <pc:chgData name="Alexandre Zanetti de Almeida" userId="129d4ce6-e715-4d33-b4c4-312f1656225b" providerId="ADAL" clId="{B43CCD4C-FFAF-4F95-BA74-53735DFD9913}" dt="2025-04-17T12:34:22.652" v="260" actId="47"/>
        <pc:sldMkLst>
          <pc:docMk/>
          <pc:sldMk cId="3918225123" sldId="2147470233"/>
        </pc:sldMkLst>
      </pc:sldChg>
      <pc:sldChg chg="addSp delSp modSp mod">
        <pc:chgData name="Alexandre Zanetti de Almeida" userId="129d4ce6-e715-4d33-b4c4-312f1656225b" providerId="ADAL" clId="{B43CCD4C-FFAF-4F95-BA74-53735DFD9913}" dt="2025-04-17T12:33:16.065" v="245"/>
        <pc:sldMkLst>
          <pc:docMk/>
          <pc:sldMk cId="2097707483" sldId="2147470235"/>
        </pc:sldMkLst>
      </pc:sldChg>
      <pc:sldChg chg="del">
        <pc:chgData name="Alexandre Zanetti de Almeida" userId="129d4ce6-e715-4d33-b4c4-312f1656225b" providerId="ADAL" clId="{B43CCD4C-FFAF-4F95-BA74-53735DFD9913}" dt="2025-04-17T12:34:13.219" v="258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43CCD4C-FFAF-4F95-BA74-53735DFD9913}" dt="2025-04-17T12:34:15.293" v="259" actId="47"/>
        <pc:sldMkLst>
          <pc:docMk/>
          <pc:sldMk cId="3382901393" sldId="2147470242"/>
        </pc:sldMkLst>
      </pc:sldChg>
      <pc:sldChg chg="mod modShow">
        <pc:chgData name="Alexandre Zanetti de Almeida" userId="129d4ce6-e715-4d33-b4c4-312f1656225b" providerId="ADAL" clId="{B43CCD4C-FFAF-4F95-BA74-53735DFD9913}" dt="2025-04-17T12:32:10.616" v="227" actId="729"/>
        <pc:sldMkLst>
          <pc:docMk/>
          <pc:sldMk cId="3138549392" sldId="2147470247"/>
        </pc:sldMkLst>
      </pc:sldChg>
      <pc:sldChg chg="modSp add mod">
        <pc:chgData name="Alexandre Zanetti de Almeida" userId="129d4ce6-e715-4d33-b4c4-312f1656225b" providerId="ADAL" clId="{B43CCD4C-FFAF-4F95-BA74-53735DFD9913}" dt="2025-04-17T12:32:45.469" v="243" actId="20577"/>
        <pc:sldMkLst>
          <pc:docMk/>
          <pc:sldMk cId="2733684968" sldId="2147470249"/>
        </pc:sldMkLst>
      </pc:sldChg>
    </pc:docChg>
  </pc:docChgLst>
  <pc:docChgLst>
    <pc:chgData name="Alexandre Zanetti de Almeida" userId="129d4ce6-e715-4d33-b4c4-312f1656225b" providerId="ADAL" clId="{C12FB475-700D-4592-8CA7-148A542E339D}"/>
    <pc:docChg chg="delSld modSection">
      <pc:chgData name="Alexandre Zanetti de Almeida" userId="129d4ce6-e715-4d33-b4c4-312f1656225b" providerId="ADAL" clId="{C12FB475-700D-4592-8CA7-148A542E339D}" dt="2024-12-19T14:43:07.493" v="0" actId="47"/>
      <pc:docMkLst>
        <pc:docMk/>
      </pc:docMkLst>
      <pc:sldChg chg="del">
        <pc:chgData name="Alexandre Zanetti de Almeida" userId="129d4ce6-e715-4d33-b4c4-312f1656225b" providerId="ADAL" clId="{C12FB475-700D-4592-8CA7-148A542E339D}" dt="2024-12-19T14:43:07.493" v="0" actId="47"/>
        <pc:sldMkLst>
          <pc:docMk/>
          <pc:sldMk cId="1138822648" sldId="2147470249"/>
        </pc:sldMkLst>
      </pc:sldChg>
    </pc:docChg>
  </pc:docChgLst>
  <pc:docChgLst>
    <pc:chgData name="Alexandre Zanetti de Almeida" userId="129d4ce6-e715-4d33-b4c4-312f1656225b" providerId="ADAL" clId="{588B9DB1-5659-4DE1-805E-57B0F19426CD}"/>
    <pc:docChg chg="undo redo custSel addSld delSld modSld sldOrd modSection">
      <pc:chgData name="Alexandre Zanetti de Almeida" userId="129d4ce6-e715-4d33-b4c4-312f1656225b" providerId="ADAL" clId="{588B9DB1-5659-4DE1-805E-57B0F19426CD}" dt="2025-07-04T13:04:12.512" v="3168" actId="6549"/>
      <pc:docMkLst>
        <pc:docMk/>
      </pc:docMkLst>
      <pc:sldChg chg="modSp mod">
        <pc:chgData name="Alexandre Zanetti de Almeida" userId="129d4ce6-e715-4d33-b4c4-312f1656225b" providerId="ADAL" clId="{588B9DB1-5659-4DE1-805E-57B0F19426CD}" dt="2025-07-04T13:01:11.666" v="3099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588B9DB1-5659-4DE1-805E-57B0F19426CD}" dt="2025-07-04T13:01:11.666" v="3099" actId="6549"/>
          <ac:spMkLst>
            <pc:docMk/>
            <pc:sldMk cId="3565198220" sldId="257"/>
            <ac:spMk id="14" creationId="{58A75E89-8A5E-9C4E-8913-431969C8D27C}"/>
          </ac:spMkLst>
        </pc:spChg>
      </pc:sldChg>
      <pc:sldChg chg="modSp mod">
        <pc:chgData name="Alexandre Zanetti de Almeida" userId="129d4ce6-e715-4d33-b4c4-312f1656225b" providerId="ADAL" clId="{588B9DB1-5659-4DE1-805E-57B0F19426CD}" dt="2025-07-03T18:54:57.306" v="3070" actId="20577"/>
        <pc:sldMkLst>
          <pc:docMk/>
          <pc:sldMk cId="2097707483" sldId="2147470235"/>
        </pc:sldMkLst>
        <pc:spChg chg="mod">
          <ac:chgData name="Alexandre Zanetti de Almeida" userId="129d4ce6-e715-4d33-b4c4-312f1656225b" providerId="ADAL" clId="{588B9DB1-5659-4DE1-805E-57B0F19426CD}" dt="2025-07-03T18:54:57.306" v="3070" actId="20577"/>
          <ac:spMkLst>
            <pc:docMk/>
            <pc:sldMk cId="2097707483" sldId="2147470235"/>
            <ac:spMk id="4" creationId="{892D3D94-15EB-DB7E-17CF-8CFE7001345A}"/>
          </ac:spMkLst>
        </pc:spChg>
      </pc:sldChg>
      <pc:sldChg chg="del">
        <pc:chgData name="Alexandre Zanetti de Almeida" userId="129d4ce6-e715-4d33-b4c4-312f1656225b" providerId="ADAL" clId="{588B9DB1-5659-4DE1-805E-57B0F19426CD}" dt="2025-06-30T15:01:57.948" v="2631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588B9DB1-5659-4DE1-805E-57B0F19426CD}" dt="2025-06-30T15:01:59.001" v="2633" actId="47"/>
        <pc:sldMkLst>
          <pc:docMk/>
          <pc:sldMk cId="3138549392" sldId="2147470247"/>
        </pc:sldMkLst>
      </pc:sldChg>
      <pc:sldChg chg="del">
        <pc:chgData name="Alexandre Zanetti de Almeida" userId="129d4ce6-e715-4d33-b4c4-312f1656225b" providerId="ADAL" clId="{588B9DB1-5659-4DE1-805E-57B0F19426CD}" dt="2025-06-30T15:01:58.403" v="2632" actId="47"/>
        <pc:sldMkLst>
          <pc:docMk/>
          <pc:sldMk cId="3461457585" sldId="2147470248"/>
        </pc:sldMkLst>
      </pc:sldChg>
      <pc:sldChg chg="add del">
        <pc:chgData name="Alexandre Zanetti de Almeida" userId="129d4ce6-e715-4d33-b4c4-312f1656225b" providerId="ADAL" clId="{588B9DB1-5659-4DE1-805E-57B0F19426CD}" dt="2025-06-30T15:02:13.827" v="2636" actId="47"/>
        <pc:sldMkLst>
          <pc:docMk/>
          <pc:sldMk cId="2733684968" sldId="2147470249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2817282654" sldId="2147470250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57506138" sldId="2147470251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481838124" sldId="2147470252"/>
        </pc:sldMkLst>
      </pc:sldChg>
      <pc:sldChg chg="del">
        <pc:chgData name="Alexandre Zanetti de Almeida" userId="129d4ce6-e715-4d33-b4c4-312f1656225b" providerId="ADAL" clId="{588B9DB1-5659-4DE1-805E-57B0F19426CD}" dt="2025-06-30T14:42:29.795" v="1878" actId="47"/>
        <pc:sldMkLst>
          <pc:docMk/>
          <pc:sldMk cId="1173113283" sldId="2147470253"/>
        </pc:sldMkLst>
      </pc:sldChg>
      <pc:sldChg chg="del">
        <pc:chgData name="Alexandre Zanetti de Almeida" userId="129d4ce6-e715-4d33-b4c4-312f1656225b" providerId="ADAL" clId="{588B9DB1-5659-4DE1-805E-57B0F19426CD}" dt="2025-06-30T14:42:31.538" v="1879" actId="47"/>
        <pc:sldMkLst>
          <pc:docMk/>
          <pc:sldMk cId="20244889" sldId="2147470254"/>
        </pc:sldMkLst>
      </pc:sldChg>
      <pc:sldChg chg="del">
        <pc:chgData name="Alexandre Zanetti de Almeida" userId="129d4ce6-e715-4d33-b4c4-312f1656225b" providerId="ADAL" clId="{588B9DB1-5659-4DE1-805E-57B0F19426CD}" dt="2025-06-30T14:42:31.538" v="1879" actId="47"/>
        <pc:sldMkLst>
          <pc:docMk/>
          <pc:sldMk cId="420519257" sldId="2147470255"/>
        </pc:sldMkLst>
      </pc:sldChg>
      <pc:sldChg chg="addSp delSp modSp mod or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3197812713" sldId="2147470256"/>
        </pc:sldMkLst>
        <pc:spChg chg="mod">
          <ac:chgData name="Alexandre Zanetti de Almeida" userId="129d4ce6-e715-4d33-b4c4-312f1656225b" providerId="ADAL" clId="{588B9DB1-5659-4DE1-805E-57B0F19426CD}" dt="2025-06-30T14:50:23.985" v="2031" actId="20577"/>
          <ac:spMkLst>
            <pc:docMk/>
            <pc:sldMk cId="3197812713" sldId="2147470256"/>
            <ac:spMk id="22" creationId="{4B5A5295-13B5-5F76-58A7-1B7A8FE275C0}"/>
          </ac:spMkLst>
        </pc:spChg>
        <pc:spChg chg="add mod">
          <ac:chgData name="Alexandre Zanetti de Almeida" userId="129d4ce6-e715-4d33-b4c4-312f1656225b" providerId="ADAL" clId="{588B9DB1-5659-4DE1-805E-57B0F19426CD}" dt="2025-06-30T14:54:33.332" v="2268" actId="1076"/>
          <ac:spMkLst>
            <pc:docMk/>
            <pc:sldMk cId="3197812713" sldId="2147470256"/>
            <ac:spMk id="23" creationId="{33A8336F-B5C5-C4F9-A78C-F0354BBC511A}"/>
          </ac:spMkLst>
        </pc:spChg>
        <pc:spChg chg="mod">
          <ac:chgData name="Alexandre Zanetti de Almeida" userId="129d4ce6-e715-4d33-b4c4-312f1656225b" providerId="ADAL" clId="{588B9DB1-5659-4DE1-805E-57B0F19426CD}" dt="2025-06-30T14:52:14.087" v="2126" actId="20577"/>
          <ac:spMkLst>
            <pc:docMk/>
            <pc:sldMk cId="3197812713" sldId="2147470256"/>
            <ac:spMk id="24" creationId="{6AF2B280-9195-8646-2D76-AE846F459FBA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26" creationId="{A7ADB682-8B5C-A757-1E58-6CE5B06CBAB1}"/>
          </ac:spMkLst>
        </pc:spChg>
        <pc:spChg chg="mod">
          <ac:chgData name="Alexandre Zanetti de Almeida" userId="129d4ce6-e715-4d33-b4c4-312f1656225b" providerId="ADAL" clId="{588B9DB1-5659-4DE1-805E-57B0F19426CD}" dt="2025-06-30T15:02:29.141" v="2638"/>
          <ac:spMkLst>
            <pc:docMk/>
            <pc:sldMk cId="3197812713" sldId="2147470256"/>
            <ac:spMk id="29" creationId="{BEFDA5D6-5719-BA13-7538-7E7B4700EA55}"/>
          </ac:spMkLst>
        </pc:spChg>
        <pc:spChg chg="mod">
          <ac:chgData name="Alexandre Zanetti de Almeida" userId="129d4ce6-e715-4d33-b4c4-312f1656225b" providerId="ADAL" clId="{588B9DB1-5659-4DE1-805E-57B0F19426CD}" dt="2025-06-30T15:07:14.777" v="2754"/>
          <ac:spMkLst>
            <pc:docMk/>
            <pc:sldMk cId="3197812713" sldId="2147470256"/>
            <ac:spMk id="30" creationId="{F1EB4022-083F-2999-1AD9-F69A14869E23}"/>
          </ac:spMkLst>
        </pc:spChg>
        <pc:spChg chg="mod">
          <ac:chgData name="Alexandre Zanetti de Almeida" userId="129d4ce6-e715-4d33-b4c4-312f1656225b" providerId="ADAL" clId="{588B9DB1-5659-4DE1-805E-57B0F19426CD}" dt="2025-06-30T15:07:16.491" v="2755"/>
          <ac:spMkLst>
            <pc:docMk/>
            <pc:sldMk cId="3197812713" sldId="2147470256"/>
            <ac:spMk id="31" creationId="{FA4506B7-E442-869C-F873-E644E24A954D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35" creationId="{9FFE2CD0-57D2-F05C-97F5-B5494210627B}"/>
          </ac:spMkLst>
        </pc:spChg>
        <pc:spChg chg="mod">
          <ac:chgData name="Alexandre Zanetti de Almeida" userId="129d4ce6-e715-4d33-b4c4-312f1656225b" providerId="ADAL" clId="{588B9DB1-5659-4DE1-805E-57B0F19426CD}" dt="2025-06-30T15:07:18.645" v="2756"/>
          <ac:spMkLst>
            <pc:docMk/>
            <pc:sldMk cId="3197812713" sldId="2147470256"/>
            <ac:spMk id="36" creationId="{7F7E0266-8141-443B-858A-BE5FFB2939DB}"/>
          </ac:spMkLst>
        </pc:spChg>
        <pc:spChg chg="mod">
          <ac:chgData name="Alexandre Zanetti de Almeida" userId="129d4ce6-e715-4d33-b4c4-312f1656225b" providerId="ADAL" clId="{588B9DB1-5659-4DE1-805E-57B0F19426CD}" dt="2025-06-30T15:05:39.986" v="2708" actId="20577"/>
          <ac:spMkLst>
            <pc:docMk/>
            <pc:sldMk cId="3197812713" sldId="2147470256"/>
            <ac:spMk id="37" creationId="{8DE6D95A-65CC-2027-54F7-1B89AFE6ABF0}"/>
          </ac:spMkLst>
        </pc:spChg>
        <pc:spChg chg="mod">
          <ac:chgData name="Alexandre Zanetti de Almeida" userId="129d4ce6-e715-4d33-b4c4-312f1656225b" providerId="ADAL" clId="{588B9DB1-5659-4DE1-805E-57B0F19426CD}" dt="2025-06-30T15:11:52.402" v="2865" actId="6549"/>
          <ac:spMkLst>
            <pc:docMk/>
            <pc:sldMk cId="3197812713" sldId="2147470256"/>
            <ac:spMk id="38" creationId="{DE50D678-088E-471C-B114-0E1FF1F26E27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1" creationId="{CD2EEF20-0646-D0D4-67EB-BA011E609697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2" creationId="{FF2A720A-DC55-9602-C633-23ABEB2ADF11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47" creationId="{38D99D30-1FC8-6CC0-E0FD-75DB76057011}"/>
          </ac:spMkLst>
        </pc:spChg>
        <pc:spChg chg="mod">
          <ac:chgData name="Alexandre Zanetti de Almeida" userId="129d4ce6-e715-4d33-b4c4-312f1656225b" providerId="ADAL" clId="{588B9DB1-5659-4DE1-805E-57B0F19426CD}" dt="2025-06-30T14:48:14.444" v="1888"/>
          <ac:spMkLst>
            <pc:docMk/>
            <pc:sldMk cId="3197812713" sldId="2147470256"/>
            <ac:spMk id="60" creationId="{B5784029-B01D-3A39-2C65-ADD26AD09288}"/>
          </ac:spMkLst>
        </pc:spChg>
      </pc:sldChg>
      <pc:sldChg chg="addSp delSp modSp add del mod">
        <pc:chgData name="Alexandre Zanetti de Almeida" userId="129d4ce6-e715-4d33-b4c4-312f1656225b" providerId="ADAL" clId="{588B9DB1-5659-4DE1-805E-57B0F19426CD}" dt="2025-06-26T13:31:50.057" v="1807" actId="47"/>
        <pc:sldMkLst>
          <pc:docMk/>
          <pc:sldMk cId="1034806602" sldId="2147470258"/>
        </pc:sldMkLst>
      </pc:sldChg>
      <pc:sldChg chg="addSp delSp modSp add mod">
        <pc:chgData name="Alexandre Zanetti de Almeida" userId="129d4ce6-e715-4d33-b4c4-312f1656225b" providerId="ADAL" clId="{588B9DB1-5659-4DE1-805E-57B0F19426CD}" dt="2025-07-03T18:29:33.560" v="2953" actId="20577"/>
        <pc:sldMkLst>
          <pc:docMk/>
          <pc:sldMk cId="577182788" sldId="2147470259"/>
        </pc:sldMkLst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" creationId="{5942D5F7-0137-2B66-9E01-F35C358FA2B3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22" creationId="{00580DE3-29C4-C761-679F-91FAD671FC1C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31" creationId="{60CB1BCC-3298-640E-C734-00CE1EE880D6}"/>
          </ac:spMkLst>
        </pc:spChg>
        <pc:spChg chg="add mod">
          <ac:chgData name="Alexandre Zanetti de Almeida" userId="129d4ce6-e715-4d33-b4c4-312f1656225b" providerId="ADAL" clId="{588B9DB1-5659-4DE1-805E-57B0F19426CD}" dt="2025-06-26T13:30:30.042" v="1737" actId="571"/>
          <ac:spMkLst>
            <pc:docMk/>
            <pc:sldMk cId="577182788" sldId="2147470259"/>
            <ac:spMk id="32" creationId="{2D73B495-1CBB-98B4-2986-938721B60E6F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2" creationId="{9896B024-B160-DFAE-6EFA-58A555FF721B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3" creationId="{F16D3482-6B83-25F2-6AD9-1EF097D90120}"/>
          </ac:spMkLst>
        </pc:spChg>
        <pc:spChg chg="add mod">
          <ac:chgData name="Alexandre Zanetti de Almeida" userId="129d4ce6-e715-4d33-b4c4-312f1656225b" providerId="ADAL" clId="{588B9DB1-5659-4DE1-805E-57B0F19426CD}" dt="2025-06-26T13:30:50.187" v="1744" actId="571"/>
          <ac:spMkLst>
            <pc:docMk/>
            <pc:sldMk cId="577182788" sldId="2147470259"/>
            <ac:spMk id="44" creationId="{3C626609-B35A-89FA-766A-BD9E6E80E551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55" creationId="{64EF94B1-FA67-BAC2-0CD9-973C43B60601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61" creationId="{39196541-426B-E677-E3E5-E20AA8CB95A1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75" creationId="{94852262-370D-1FD6-AE6B-D9B52F6EB189}"/>
          </ac:spMkLst>
        </pc:spChg>
        <pc:spChg chg="mod">
          <ac:chgData name="Alexandre Zanetti de Almeida" userId="129d4ce6-e715-4d33-b4c4-312f1656225b" providerId="ADAL" clId="{588B9DB1-5659-4DE1-805E-57B0F19426CD}" dt="2025-06-26T13:30:24.434" v="1736" actId="14100"/>
          <ac:spMkLst>
            <pc:docMk/>
            <pc:sldMk cId="577182788" sldId="2147470259"/>
            <ac:spMk id="87" creationId="{47C16F0B-9C41-D1D7-F838-DAA4958C6C27}"/>
          </ac:spMkLst>
        </pc:spChg>
        <pc:spChg chg="mod">
          <ac:chgData name="Alexandre Zanetti de Almeida" userId="129d4ce6-e715-4d33-b4c4-312f1656225b" providerId="ADAL" clId="{588B9DB1-5659-4DE1-805E-57B0F19426CD}" dt="2025-06-26T13:31:48.316" v="1806" actId="1076"/>
          <ac:spMkLst>
            <pc:docMk/>
            <pc:sldMk cId="577182788" sldId="2147470259"/>
            <ac:spMk id="91" creationId="{F9C777A7-C169-24AA-1C12-D2E86FED2D42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98" creationId="{1C0057C7-F2FB-07B0-E9A5-7B00F8130AAE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00" creationId="{2ED312FC-8FFA-4B27-51E0-6FEBD76AF24F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0" creationId="{4034B72B-9529-E982-1D02-3CFD5A6DCCF3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12" creationId="{AABF6A47-A341-6CC1-BD9D-D48FDBCF3546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4" creationId="{855149D6-225F-07E1-5999-9E71DDD537DC}"/>
          </ac:spMkLst>
        </pc:spChg>
        <pc:spChg chg="mod">
          <ac:chgData name="Alexandre Zanetti de Almeida" userId="129d4ce6-e715-4d33-b4c4-312f1656225b" providerId="ADAL" clId="{588B9DB1-5659-4DE1-805E-57B0F19426CD}" dt="2025-07-03T18:17:33.708" v="2903" actId="20577"/>
          <ac:spMkLst>
            <pc:docMk/>
            <pc:sldMk cId="577182788" sldId="2147470259"/>
            <ac:spMk id="116" creationId="{64F60FB2-DD88-005E-A318-D1888765B8B0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17" creationId="{AE9F617A-4F5E-F068-55C9-990F0798A194}"/>
          </ac:spMkLst>
        </pc:spChg>
        <pc:spChg chg="mod">
          <ac:chgData name="Alexandre Zanetti de Almeida" userId="129d4ce6-e715-4d33-b4c4-312f1656225b" providerId="ADAL" clId="{588B9DB1-5659-4DE1-805E-57B0F19426CD}" dt="2025-07-03T18:29:33.560" v="2953" actId="20577"/>
          <ac:spMkLst>
            <pc:docMk/>
            <pc:sldMk cId="577182788" sldId="2147470259"/>
            <ac:spMk id="119" creationId="{326182A3-727B-C7BB-9046-BB3A8E720723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21" creationId="{D0B2D417-C6F6-8A0A-55DB-D3FC7F42D680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22" creationId="{C21614B8-FF18-9EEA-E55A-07DD5F0B83F5}"/>
          </ac:spMkLst>
        </pc:spChg>
        <pc:spChg chg="mod">
          <ac:chgData name="Alexandre Zanetti de Almeida" userId="129d4ce6-e715-4d33-b4c4-312f1656225b" providerId="ADAL" clId="{588B9DB1-5659-4DE1-805E-57B0F19426CD}" dt="2025-06-26T15:17:23.987" v="1868" actId="20577"/>
          <ac:spMkLst>
            <pc:docMk/>
            <pc:sldMk cId="577182788" sldId="2147470259"/>
            <ac:spMk id="125" creationId="{1CCCD29E-3C88-53F9-1AA7-382C79D009A5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42" creationId="{C3527BD3-FDDA-B988-C95B-82035F3542C3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56" creationId="{5D2F969D-A546-A094-DB9A-FF23A4C62084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73" creationId="{D0751C6D-1009-271C-91A6-A9B5502AA77F}"/>
          </ac:spMkLst>
        </pc:spChg>
        <pc:spChg chg="mod">
          <ac:chgData name="Alexandre Zanetti de Almeida" userId="129d4ce6-e715-4d33-b4c4-312f1656225b" providerId="ADAL" clId="{588B9DB1-5659-4DE1-805E-57B0F19426CD}" dt="2025-06-30T12:53:06.182" v="1876" actId="20577"/>
          <ac:spMkLst>
            <pc:docMk/>
            <pc:sldMk cId="577182788" sldId="2147470259"/>
            <ac:spMk id="189" creationId="{263A707A-22CF-742E-241C-6C68915340A0}"/>
          </ac:spMkLst>
        </pc:spChg>
        <pc:spChg chg="mod">
          <ac:chgData name="Alexandre Zanetti de Almeida" userId="129d4ce6-e715-4d33-b4c4-312f1656225b" providerId="ADAL" clId="{588B9DB1-5659-4DE1-805E-57B0F19426CD}" dt="2025-06-26T13:28:19.307" v="1691" actId="1036"/>
          <ac:spMkLst>
            <pc:docMk/>
            <pc:sldMk cId="577182788" sldId="2147470259"/>
            <ac:spMk id="190" creationId="{22DD5DFD-F8AB-BFDF-A21D-49A6D97CA00A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1" creationId="{06EA4D10-515A-0EF0-381E-D8C215D311F4}"/>
          </ac:spMkLst>
        </pc:spChg>
        <pc:spChg chg="mod">
          <ac:chgData name="Alexandre Zanetti de Almeida" userId="129d4ce6-e715-4d33-b4c4-312f1656225b" providerId="ADAL" clId="{588B9DB1-5659-4DE1-805E-57B0F19426CD}" dt="2025-06-26T13:31:12.537" v="1762" actId="207"/>
          <ac:spMkLst>
            <pc:docMk/>
            <pc:sldMk cId="577182788" sldId="2147470259"/>
            <ac:spMk id="193" creationId="{37BAB4BD-B02A-E23D-5885-1365248AF1D5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4" creationId="{20F93375-7DBB-6DF4-A87D-D8846F7C9C40}"/>
          </ac:spMkLst>
        </pc:spChg>
        <pc:spChg chg="mod">
          <ac:chgData name="Alexandre Zanetti de Almeida" userId="129d4ce6-e715-4d33-b4c4-312f1656225b" providerId="ADAL" clId="{588B9DB1-5659-4DE1-805E-57B0F19426CD}" dt="2025-06-26T13:29:51.324" v="1728" actId="1076"/>
          <ac:spMkLst>
            <pc:docMk/>
            <pc:sldMk cId="577182788" sldId="2147470259"/>
            <ac:spMk id="195" creationId="{7E178418-32D8-651D-09DD-C763A4CAC6A7}"/>
          </ac:spMkLst>
        </pc:spChg>
        <pc:spChg chg="mod">
          <ac:chgData name="Alexandre Zanetti de Almeida" userId="129d4ce6-e715-4d33-b4c4-312f1656225b" providerId="ADAL" clId="{588B9DB1-5659-4DE1-805E-57B0F19426CD}" dt="2025-06-26T13:31:42.517" v="1805" actId="1036"/>
          <ac:spMkLst>
            <pc:docMk/>
            <pc:sldMk cId="577182788" sldId="2147470259"/>
            <ac:spMk id="199" creationId="{4F182442-E5C2-8E95-F2BF-A7D98078207A}"/>
          </ac:spMkLst>
        </pc:spChg>
        <pc:cxnChg chg="add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8" creationId="{D4ABB351-9138-F20D-6749-515CB7CBF7A6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88" creationId="{17A15290-8688-7169-951E-4FCAA46962D3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92" creationId="{1DE76736-C0BF-E4B3-9EAF-3EFE201749D4}"/>
          </ac:cxnSpMkLst>
        </pc:cxnChg>
        <pc:cxnChg chg="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95" creationId="{8E3B7BEC-D2D3-8A8F-B058-557051867339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26" creationId="{F72ADF4D-C8D2-0E23-356C-948ECB95A497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43" creationId="{D6D82E50-5685-E757-4CE6-EFCD7FE3BD09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22.494" v="1763" actId="1076"/>
          <ac:cxnSpMkLst>
            <pc:docMk/>
            <pc:sldMk cId="577182788" sldId="2147470259"/>
            <ac:cxnSpMk id="159" creationId="{3908018D-CBD9-0E26-A9D3-C169C2FEC982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65" creationId="{BBC2D600-A729-FCDE-7DF6-DDEEF2E29D52}"/>
          </ac:cxnSpMkLst>
        </pc:cxnChg>
        <pc:cxnChg chg="add del mod">
          <ac:chgData name="Alexandre Zanetti de Almeida" userId="129d4ce6-e715-4d33-b4c4-312f1656225b" providerId="ADAL" clId="{588B9DB1-5659-4DE1-805E-57B0F19426CD}" dt="2025-06-26T13:31:35.101" v="1765" actId="1076"/>
          <ac:cxnSpMkLst>
            <pc:docMk/>
            <pc:sldMk cId="577182788" sldId="2147470259"/>
            <ac:cxnSpMk id="175" creationId="{15CB7E86-AF4E-C64F-CDB5-02EA605C13DE}"/>
          </ac:cxnSpMkLst>
        </pc:cxnChg>
      </pc:sldChg>
      <pc:sldChg chg="modSp add del mod">
        <pc:chgData name="Alexandre Zanetti de Almeida" userId="129d4ce6-e715-4d33-b4c4-312f1656225b" providerId="ADAL" clId="{588B9DB1-5659-4DE1-805E-57B0F19426CD}" dt="2025-06-30T15:02:14.580" v="2637" actId="47"/>
        <pc:sldMkLst>
          <pc:docMk/>
          <pc:sldMk cId="3041799647" sldId="2147470260"/>
        </pc:sldMkLst>
      </pc:sldChg>
      <pc:sldChg chg="add del">
        <pc:chgData name="Alexandre Zanetti de Almeida" userId="129d4ce6-e715-4d33-b4c4-312f1656225b" providerId="ADAL" clId="{588B9DB1-5659-4DE1-805E-57B0F19426CD}" dt="2025-06-30T14:53:14.074" v="2185" actId="47"/>
        <pc:sldMkLst>
          <pc:docMk/>
          <pc:sldMk cId="1962409263" sldId="2147470261"/>
        </pc:sldMkLst>
      </pc:sldChg>
      <pc:sldChg chg="add del">
        <pc:chgData name="Alexandre Zanetti de Almeida" userId="129d4ce6-e715-4d33-b4c4-312f1656225b" providerId="ADAL" clId="{588B9DB1-5659-4DE1-805E-57B0F19426CD}" dt="2025-06-30T14:53:08.884" v="2184" actId="47"/>
        <pc:sldMkLst>
          <pc:docMk/>
          <pc:sldMk cId="2960765666" sldId="2147470262"/>
        </pc:sldMkLst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1243885578" sldId="2147470263"/>
        </pc:sldMkLst>
        <pc:spChg chg="mod">
          <ac:chgData name="Alexandre Zanetti de Almeida" userId="129d4ce6-e715-4d33-b4c4-312f1656225b" providerId="ADAL" clId="{588B9DB1-5659-4DE1-805E-57B0F19426CD}" dt="2025-06-30T14:51:31.239" v="2060" actId="13926"/>
          <ac:spMkLst>
            <pc:docMk/>
            <pc:sldMk cId="1243885578" sldId="2147470263"/>
            <ac:spMk id="24" creationId="{0B475616-F36D-4D5F-0EAF-28E5FF406AC8}"/>
          </ac:spMkLst>
        </pc:spChg>
        <pc:spChg chg="mod">
          <ac:chgData name="Alexandre Zanetti de Almeida" userId="129d4ce6-e715-4d33-b4c4-312f1656225b" providerId="ADAL" clId="{588B9DB1-5659-4DE1-805E-57B0F19426CD}" dt="2025-06-30T15:02:40.411" v="2642"/>
          <ac:spMkLst>
            <pc:docMk/>
            <pc:sldMk cId="1243885578" sldId="2147470263"/>
            <ac:spMk id="80" creationId="{BC4FD8A6-9869-CBF5-56F2-38372AB309F8}"/>
          </ac:spMkLst>
        </pc:spChg>
        <pc:spChg chg="mod">
          <ac:chgData name="Alexandre Zanetti de Almeida" userId="129d4ce6-e715-4d33-b4c4-312f1656225b" providerId="ADAL" clId="{588B9DB1-5659-4DE1-805E-57B0F19426CD}" dt="2025-06-30T15:06:54.209" v="2750" actId="20577"/>
          <ac:spMkLst>
            <pc:docMk/>
            <pc:sldMk cId="1243885578" sldId="2147470263"/>
            <ac:spMk id="81" creationId="{C80BA4F0-C6ED-9698-60CB-FA52053407B5}"/>
          </ac:spMkLst>
        </pc:spChg>
        <pc:spChg chg="mod">
          <ac:chgData name="Alexandre Zanetti de Almeida" userId="129d4ce6-e715-4d33-b4c4-312f1656225b" providerId="ADAL" clId="{588B9DB1-5659-4DE1-805E-57B0F19426CD}" dt="2025-06-30T15:06:59.256" v="2751"/>
          <ac:spMkLst>
            <pc:docMk/>
            <pc:sldMk cId="1243885578" sldId="2147470263"/>
            <ac:spMk id="82" creationId="{9578D58B-81CB-E577-D88A-78FCECE32B3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84" creationId="{07168531-8DB1-C473-F49D-13733D085AEF}"/>
          </ac:spMkLst>
        </pc:spChg>
        <pc:spChg chg="mod">
          <ac:chgData name="Alexandre Zanetti de Almeida" userId="129d4ce6-e715-4d33-b4c4-312f1656225b" providerId="ADAL" clId="{588B9DB1-5659-4DE1-805E-57B0F19426CD}" dt="2025-06-30T15:07:02.751" v="2752"/>
          <ac:spMkLst>
            <pc:docMk/>
            <pc:sldMk cId="1243885578" sldId="2147470263"/>
            <ac:spMk id="87" creationId="{DB6C7D63-B003-AA3E-33E9-5B24EDE60893}"/>
          </ac:spMkLst>
        </pc:spChg>
        <pc:spChg chg="mod">
          <ac:chgData name="Alexandre Zanetti de Almeida" userId="129d4ce6-e715-4d33-b4c4-312f1656225b" providerId="ADAL" clId="{588B9DB1-5659-4DE1-805E-57B0F19426CD}" dt="2025-06-30T15:07:05.497" v="2753"/>
          <ac:spMkLst>
            <pc:docMk/>
            <pc:sldMk cId="1243885578" sldId="2147470263"/>
            <ac:spMk id="88" creationId="{ACC9D763-D196-5455-401F-090B590FB636}"/>
          </ac:spMkLst>
        </pc:spChg>
        <pc:spChg chg="mod">
          <ac:chgData name="Alexandre Zanetti de Almeida" userId="129d4ce6-e715-4d33-b4c4-312f1656225b" providerId="ADAL" clId="{588B9DB1-5659-4DE1-805E-57B0F19426CD}" dt="2025-06-30T15:11:56.927" v="2866"/>
          <ac:spMkLst>
            <pc:docMk/>
            <pc:sldMk cId="1243885578" sldId="2147470263"/>
            <ac:spMk id="89" creationId="{07E6C8D7-8765-578D-513E-150048DD819D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2" creationId="{9D12DAD3-84CB-FB0A-4BAB-00B949CE2596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3" creationId="{1AE2603F-C2E4-16DA-C5BB-FA701D72737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5" creationId="{54C99587-FE12-6997-D25C-0A0E2E85157F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96" creationId="{A0B7BEA1-C96D-9793-27FC-6CA33C967D2E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0" creationId="{C48F3D91-4C72-FEFB-2E99-4FDAF428FF53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3" creationId="{97F17BA4-86AB-9174-A6B5-BD9FB4DBB905}"/>
          </ac:spMkLst>
        </pc:spChg>
        <pc:spChg chg="mod">
          <ac:chgData name="Alexandre Zanetti de Almeida" userId="129d4ce6-e715-4d33-b4c4-312f1656225b" providerId="ADAL" clId="{588B9DB1-5659-4DE1-805E-57B0F19426CD}" dt="2025-06-30T14:54:47.734" v="2271"/>
          <ac:spMkLst>
            <pc:docMk/>
            <pc:sldMk cId="1243885578" sldId="2147470263"/>
            <ac:spMk id="104" creationId="{42CB8807-2D08-4340-4551-56EBFFBE6412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3797609788" sldId="2147470264"/>
        </pc:sldMkLst>
        <pc:spChg chg="mod">
          <ac:chgData name="Alexandre Zanetti de Almeida" userId="129d4ce6-e715-4d33-b4c4-312f1656225b" providerId="ADAL" clId="{588B9DB1-5659-4DE1-805E-57B0F19426CD}" dt="2025-06-30T15:03:57.228" v="2674"/>
          <ac:spMkLst>
            <pc:docMk/>
            <pc:sldMk cId="3797609788" sldId="2147470264"/>
            <ac:spMk id="10" creationId="{3282266D-48E9-9304-8915-CB8E314CB92A}"/>
          </ac:spMkLst>
        </pc:spChg>
        <pc:spChg chg="mod">
          <ac:chgData name="Alexandre Zanetti de Almeida" userId="129d4ce6-e715-4d33-b4c4-312f1656225b" providerId="ADAL" clId="{588B9DB1-5659-4DE1-805E-57B0F19426CD}" dt="2025-06-30T15:08:18.859" v="2783" actId="20577"/>
          <ac:spMkLst>
            <pc:docMk/>
            <pc:sldMk cId="3797609788" sldId="2147470264"/>
            <ac:spMk id="12" creationId="{8C6F6585-CFD9-61AF-2FC0-73C7C961FEE8}"/>
          </ac:spMkLst>
        </pc:spChg>
        <pc:spChg chg="mod">
          <ac:chgData name="Alexandre Zanetti de Almeida" userId="129d4ce6-e715-4d33-b4c4-312f1656225b" providerId="ADAL" clId="{588B9DB1-5659-4DE1-805E-57B0F19426CD}" dt="2025-06-30T15:07:26.053" v="2758"/>
          <ac:spMkLst>
            <pc:docMk/>
            <pc:sldMk cId="3797609788" sldId="2147470264"/>
            <ac:spMk id="14" creationId="{12797896-6A41-F0D5-009F-4CBBD77E0378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6" creationId="{CF6CA9D8-AA24-AB59-5C26-C4CE9C4CA8ED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7" creationId="{ECB896A5-6EB1-3488-BFA7-84DC1BC8A344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18" creationId="{F62C5729-5CB2-717D-8DBD-6C83FBC3073B}"/>
          </ac:spMkLst>
        </pc:spChg>
        <pc:spChg chg="mod">
          <ac:chgData name="Alexandre Zanetti de Almeida" userId="129d4ce6-e715-4d33-b4c4-312f1656225b" providerId="ADAL" clId="{588B9DB1-5659-4DE1-805E-57B0F19426CD}" dt="2025-06-30T15:07:24.242" v="2757"/>
          <ac:spMkLst>
            <pc:docMk/>
            <pc:sldMk cId="3797609788" sldId="2147470264"/>
            <ac:spMk id="19" creationId="{D06B0BC2-BE08-FDFA-B1ED-19DE57BB9889}"/>
          </ac:spMkLst>
        </pc:spChg>
        <pc:spChg chg="mod">
          <ac:chgData name="Alexandre Zanetti de Almeida" userId="129d4ce6-e715-4d33-b4c4-312f1656225b" providerId="ADAL" clId="{588B9DB1-5659-4DE1-805E-57B0F19426CD}" dt="2025-06-30T15:05:13.237" v="2700" actId="6549"/>
          <ac:spMkLst>
            <pc:docMk/>
            <pc:sldMk cId="3797609788" sldId="2147470264"/>
            <ac:spMk id="20" creationId="{42F35C61-494F-842B-8C5B-0F9D7485C2F3}"/>
          </ac:spMkLst>
        </pc:spChg>
        <pc:spChg chg="mod">
          <ac:chgData name="Alexandre Zanetti de Almeida" userId="129d4ce6-e715-4d33-b4c4-312f1656225b" providerId="ADAL" clId="{588B9DB1-5659-4DE1-805E-57B0F19426CD}" dt="2025-06-30T15:12:01.110" v="2867"/>
          <ac:spMkLst>
            <pc:docMk/>
            <pc:sldMk cId="3797609788" sldId="2147470264"/>
            <ac:spMk id="21" creationId="{851525DC-6D42-9169-F4B7-208836B2B90A}"/>
          </ac:spMkLst>
        </pc:spChg>
        <pc:spChg chg="mod">
          <ac:chgData name="Alexandre Zanetti de Almeida" userId="129d4ce6-e715-4d33-b4c4-312f1656225b" providerId="ADAL" clId="{588B9DB1-5659-4DE1-805E-57B0F19426CD}" dt="2025-06-30T15:08:11.675" v="2774" actId="20577"/>
          <ac:spMkLst>
            <pc:docMk/>
            <pc:sldMk cId="3797609788" sldId="2147470264"/>
            <ac:spMk id="22" creationId="{F4C0A0CE-4FD6-F4C8-2F12-A32C06E8E31F}"/>
          </ac:spMkLst>
        </pc:spChg>
        <pc:spChg chg="mod">
          <ac:chgData name="Alexandre Zanetti de Almeida" userId="129d4ce6-e715-4d33-b4c4-312f1656225b" providerId="ADAL" clId="{588B9DB1-5659-4DE1-805E-57B0F19426CD}" dt="2025-06-30T14:51:44.729" v="2075" actId="20577"/>
          <ac:spMkLst>
            <pc:docMk/>
            <pc:sldMk cId="3797609788" sldId="2147470264"/>
            <ac:spMk id="24" creationId="{E2921942-5EF6-16FF-E30F-FB293D492CBF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51" creationId="{2A9BC0CB-F2EE-B137-3B23-F7BC3329EF6C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2" creationId="{0B481334-6C0F-7322-6566-09E01F6B2EE0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4" creationId="{E42849A1-BBDE-2F9A-A6C2-FBF6E7CEBF3A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67" creationId="{88BB36DE-2DD3-503E-738B-DF1DB0E92642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71" creationId="{CA6ACFD9-C1AA-EF63-7E51-759E0D64E558}"/>
          </ac:spMkLst>
        </pc:spChg>
        <pc:spChg chg="mod">
          <ac:chgData name="Alexandre Zanetti de Almeida" userId="129d4ce6-e715-4d33-b4c4-312f1656225b" providerId="ADAL" clId="{588B9DB1-5659-4DE1-805E-57B0F19426CD}" dt="2025-06-30T14:54:53.812" v="2273"/>
          <ac:spMkLst>
            <pc:docMk/>
            <pc:sldMk cId="3797609788" sldId="2147470264"/>
            <ac:spMk id="73" creationId="{D2C82B8C-3307-36E9-60D7-076FA1B60D50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821867383" sldId="2147470265"/>
        </pc:sldMkLst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8" creationId="{F4B0F08F-9ECB-8819-5666-61EA1812772C}"/>
          </ac:spMkLst>
        </pc:spChg>
        <pc:spChg chg="mod">
          <ac:chgData name="Alexandre Zanetti de Almeida" userId="129d4ce6-e715-4d33-b4c4-312f1656225b" providerId="ADAL" clId="{588B9DB1-5659-4DE1-805E-57B0F19426CD}" dt="2025-06-30T15:06:02.452" v="2710" actId="6549"/>
          <ac:spMkLst>
            <pc:docMk/>
            <pc:sldMk cId="821867383" sldId="2147470265"/>
            <ac:spMk id="10" creationId="{B8922B77-09D0-575F-C62E-78FE665F9CE9}"/>
          </ac:spMkLst>
        </pc:spChg>
        <pc:spChg chg="mod">
          <ac:chgData name="Alexandre Zanetti de Almeida" userId="129d4ce6-e715-4d33-b4c4-312f1656225b" providerId="ADAL" clId="{588B9DB1-5659-4DE1-805E-57B0F19426CD}" dt="2025-06-30T15:07:29.714" v="2759"/>
          <ac:spMkLst>
            <pc:docMk/>
            <pc:sldMk cId="821867383" sldId="2147470265"/>
            <ac:spMk id="12" creationId="{0D7C356C-833F-C3F8-0C1A-4C5FCA8B7730}"/>
          </ac:spMkLst>
        </pc:spChg>
        <pc:spChg chg="mod">
          <ac:chgData name="Alexandre Zanetti de Almeida" userId="129d4ce6-e715-4d33-b4c4-312f1656225b" providerId="ADAL" clId="{588B9DB1-5659-4DE1-805E-57B0F19426CD}" dt="2025-06-30T15:07:31.069" v="2760"/>
          <ac:spMkLst>
            <pc:docMk/>
            <pc:sldMk cId="821867383" sldId="2147470265"/>
            <ac:spMk id="14" creationId="{8D34BE4B-5087-7276-21D4-2EE8C2EF17F9}"/>
          </ac:spMkLst>
        </pc:spChg>
        <pc:spChg chg="mod">
          <ac:chgData name="Alexandre Zanetti de Almeida" userId="129d4ce6-e715-4d33-b4c4-312f1656225b" providerId="ADAL" clId="{588B9DB1-5659-4DE1-805E-57B0F19426CD}" dt="2025-06-30T15:07:33.992" v="2761"/>
          <ac:spMkLst>
            <pc:docMk/>
            <pc:sldMk cId="821867383" sldId="2147470265"/>
            <ac:spMk id="19" creationId="{0575C178-4605-037C-3E32-081829EE6E70}"/>
          </ac:spMkLst>
        </pc:spChg>
        <pc:spChg chg="mod">
          <ac:chgData name="Alexandre Zanetti de Almeida" userId="129d4ce6-e715-4d33-b4c4-312f1656225b" providerId="ADAL" clId="{588B9DB1-5659-4DE1-805E-57B0F19426CD}" dt="2025-06-30T15:06:07.279" v="2711" actId="20577"/>
          <ac:spMkLst>
            <pc:docMk/>
            <pc:sldMk cId="821867383" sldId="2147470265"/>
            <ac:spMk id="20" creationId="{36B6EB54-8CB5-80BB-2F7B-1849D6FE4182}"/>
          </ac:spMkLst>
        </pc:spChg>
        <pc:spChg chg="mod">
          <ac:chgData name="Alexandre Zanetti de Almeida" userId="129d4ce6-e715-4d33-b4c4-312f1656225b" providerId="ADAL" clId="{588B9DB1-5659-4DE1-805E-57B0F19426CD}" dt="2025-06-30T15:12:04.444" v="2868"/>
          <ac:spMkLst>
            <pc:docMk/>
            <pc:sldMk cId="821867383" sldId="2147470265"/>
            <ac:spMk id="21" creationId="{CD75F47A-64B1-7401-252D-FC8109FBDD9C}"/>
          </ac:spMkLst>
        </pc:spChg>
        <pc:spChg chg="mod">
          <ac:chgData name="Alexandre Zanetti de Almeida" userId="129d4ce6-e715-4d33-b4c4-312f1656225b" providerId="ADAL" clId="{588B9DB1-5659-4DE1-805E-57B0F19426CD}" dt="2025-06-30T14:53:01.052" v="2183" actId="13926"/>
          <ac:spMkLst>
            <pc:docMk/>
            <pc:sldMk cId="821867383" sldId="2147470265"/>
            <ac:spMk id="24" creationId="{9FA7E9E7-37CF-9C6F-E5F3-7B8B3072D41A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51" creationId="{12F180B1-D9A9-D8A4-0C4F-B8B7A3905CD7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3" creationId="{2C0D0365-1E06-6C45-4E70-546EC28845A3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4" creationId="{D1FB4B76-7948-FE00-E3FE-B85538DFFE07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5" creationId="{CEAF3807-A7EA-6320-507A-E044E79B2220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67" creationId="{D979121F-24B8-7584-9545-18667C7D5FF4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70" creationId="{8C3EA1EB-0EF2-2E01-B9AC-5C2D67C8F07F}"/>
          </ac:spMkLst>
        </pc:spChg>
        <pc:spChg chg="mod">
          <ac:chgData name="Alexandre Zanetti de Almeida" userId="129d4ce6-e715-4d33-b4c4-312f1656225b" providerId="ADAL" clId="{588B9DB1-5659-4DE1-805E-57B0F19426CD}" dt="2025-06-30T14:54:58.783" v="2275"/>
          <ac:spMkLst>
            <pc:docMk/>
            <pc:sldMk cId="821867383" sldId="2147470265"/>
            <ac:spMk id="71" creationId="{2C16CAC0-931A-E047-03FB-F791761A9D0F}"/>
          </ac:spMkLst>
        </pc:spChg>
      </pc:sldChg>
      <pc:sldChg chg="addSp delSp modSp add mod modShow">
        <pc:chgData name="Alexandre Zanetti de Almeida" userId="129d4ce6-e715-4d33-b4c4-312f1656225b" providerId="ADAL" clId="{588B9DB1-5659-4DE1-805E-57B0F19426CD}" dt="2025-07-04T10:44:23.634" v="3077" actId="729"/>
        <pc:sldMkLst>
          <pc:docMk/>
          <pc:sldMk cId="1519765027" sldId="2147470266"/>
        </pc:sldMkLst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9" creationId="{46922B01-6A8A-ADDC-E3FD-03C2EA585F06}"/>
          </ac:spMkLst>
        </pc:spChg>
        <pc:spChg chg="mod">
          <ac:chgData name="Alexandre Zanetti de Almeida" userId="129d4ce6-e715-4d33-b4c4-312f1656225b" providerId="ADAL" clId="{588B9DB1-5659-4DE1-805E-57B0F19426CD}" dt="2025-06-30T15:06:16.825" v="2712"/>
          <ac:spMkLst>
            <pc:docMk/>
            <pc:sldMk cId="1519765027" sldId="2147470266"/>
            <ac:spMk id="10" creationId="{5E78203B-B5EF-2184-04CE-FFB7A054CC7B}"/>
          </ac:spMkLst>
        </pc:spChg>
        <pc:spChg chg="mod">
          <ac:chgData name="Alexandre Zanetti de Almeida" userId="129d4ce6-e715-4d33-b4c4-312f1656225b" providerId="ADAL" clId="{588B9DB1-5659-4DE1-805E-57B0F19426CD}" dt="2025-06-30T15:07:38.633" v="2764"/>
          <ac:spMkLst>
            <pc:docMk/>
            <pc:sldMk cId="1519765027" sldId="2147470266"/>
            <ac:spMk id="12" creationId="{729FE331-F2D9-1BDA-31CA-B3700FCF2AD5}"/>
          </ac:spMkLst>
        </pc:spChg>
        <pc:spChg chg="mod">
          <ac:chgData name="Alexandre Zanetti de Almeida" userId="129d4ce6-e715-4d33-b4c4-312f1656225b" providerId="ADAL" clId="{588B9DB1-5659-4DE1-805E-57B0F19426CD}" dt="2025-06-30T15:07:40.724" v="2765"/>
          <ac:spMkLst>
            <pc:docMk/>
            <pc:sldMk cId="1519765027" sldId="2147470266"/>
            <ac:spMk id="14" creationId="{665D318E-B9C7-7E52-CD1B-B166E17ACCCF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18" creationId="{A4192342-2B69-76A4-6B8A-D8BF017A3A91}"/>
          </ac:spMkLst>
        </pc:spChg>
        <pc:spChg chg="mod">
          <ac:chgData name="Alexandre Zanetti de Almeida" userId="129d4ce6-e715-4d33-b4c4-312f1656225b" providerId="ADAL" clId="{588B9DB1-5659-4DE1-805E-57B0F19426CD}" dt="2025-06-30T15:07:35.851" v="2762"/>
          <ac:spMkLst>
            <pc:docMk/>
            <pc:sldMk cId="1519765027" sldId="2147470266"/>
            <ac:spMk id="19" creationId="{BBA8487D-C907-1293-5502-B2D9681BE8F7}"/>
          </ac:spMkLst>
        </pc:spChg>
        <pc:spChg chg="mod">
          <ac:chgData name="Alexandre Zanetti de Almeida" userId="129d4ce6-e715-4d33-b4c4-312f1656225b" providerId="ADAL" clId="{588B9DB1-5659-4DE1-805E-57B0F19426CD}" dt="2025-06-30T15:07:37.235" v="2763"/>
          <ac:spMkLst>
            <pc:docMk/>
            <pc:sldMk cId="1519765027" sldId="2147470266"/>
            <ac:spMk id="20" creationId="{A402CCB8-CD5A-84DB-1099-8906FEB0A661}"/>
          </ac:spMkLst>
        </pc:spChg>
        <pc:spChg chg="mod">
          <ac:chgData name="Alexandre Zanetti de Almeida" userId="129d4ce6-e715-4d33-b4c4-312f1656225b" providerId="ADAL" clId="{588B9DB1-5659-4DE1-805E-57B0F19426CD}" dt="2025-06-30T15:12:07.952" v="2869"/>
          <ac:spMkLst>
            <pc:docMk/>
            <pc:sldMk cId="1519765027" sldId="2147470266"/>
            <ac:spMk id="21" creationId="{64BFAAC7-A7DB-10EC-78F1-D243C7C4D1BB}"/>
          </ac:spMkLst>
        </pc:spChg>
        <pc:spChg chg="mod">
          <ac:chgData name="Alexandre Zanetti de Almeida" userId="129d4ce6-e715-4d33-b4c4-312f1656225b" providerId="ADAL" clId="{588B9DB1-5659-4DE1-805E-57B0F19426CD}" dt="2025-06-30T14:53:35.960" v="2202" actId="13926"/>
          <ac:spMkLst>
            <pc:docMk/>
            <pc:sldMk cId="1519765027" sldId="2147470266"/>
            <ac:spMk id="24" creationId="{D8EF283B-3DE2-C70A-F5EF-DF0E208EB5C8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51" creationId="{92F8944C-903E-0F9B-158E-1B937F755E7A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52" creationId="{07D3CD76-8AA2-2A70-4211-E491E27B84D6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3" creationId="{0AE79986-C66A-E288-E770-91DC657AF252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4" creationId="{811F9327-FFCD-91C0-3D19-903B5586882B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67" creationId="{B59C23E1-F20D-F6F1-CE67-1DA1637B381C}"/>
          </ac:spMkLst>
        </pc:spChg>
        <pc:spChg chg="mod">
          <ac:chgData name="Alexandre Zanetti de Almeida" userId="129d4ce6-e715-4d33-b4c4-312f1656225b" providerId="ADAL" clId="{588B9DB1-5659-4DE1-805E-57B0F19426CD}" dt="2025-06-30T14:55:04.287" v="2277"/>
          <ac:spMkLst>
            <pc:docMk/>
            <pc:sldMk cId="1519765027" sldId="2147470266"/>
            <ac:spMk id="72" creationId="{E6F1E5FA-0DDB-599B-7E88-A55E1F6523AD}"/>
          </ac:spMkLst>
        </pc:spChg>
      </pc:sldChg>
      <pc:sldChg chg="addSp delSp modSp new del mod">
        <pc:chgData name="Alexandre Zanetti de Almeida" userId="129d4ce6-e715-4d33-b4c4-312f1656225b" providerId="ADAL" clId="{588B9DB1-5659-4DE1-805E-57B0F19426CD}" dt="2025-07-04T10:43:48.430" v="3071" actId="47"/>
        <pc:sldMkLst>
          <pc:docMk/>
          <pc:sldMk cId="1402151837" sldId="2147470267"/>
        </pc:sldMkLst>
      </pc:sldChg>
      <pc:sldChg chg="add">
        <pc:chgData name="Alexandre Zanetti de Almeida" userId="129d4ce6-e715-4d33-b4c4-312f1656225b" providerId="ADAL" clId="{588B9DB1-5659-4DE1-805E-57B0F19426CD}" dt="2025-07-03T18:54:53.584" v="3068" actId="2890"/>
        <pc:sldMkLst>
          <pc:docMk/>
          <pc:sldMk cId="1057286600" sldId="2147470268"/>
        </pc:sldMkLst>
      </pc:sldChg>
      <pc:sldChg chg="modSp add mod">
        <pc:chgData name="Alexandre Zanetti de Almeida" userId="129d4ce6-e715-4d33-b4c4-312f1656225b" providerId="ADAL" clId="{588B9DB1-5659-4DE1-805E-57B0F19426CD}" dt="2025-07-04T13:03:11.776" v="3160" actId="6549"/>
        <pc:sldMkLst>
          <pc:docMk/>
          <pc:sldMk cId="3357642481" sldId="2147470269"/>
        </pc:sldMkLst>
        <pc:spChg chg="mod">
          <ac:chgData name="Alexandre Zanetti de Almeida" userId="129d4ce6-e715-4d33-b4c4-312f1656225b" providerId="ADAL" clId="{588B9DB1-5659-4DE1-805E-57B0F19426CD}" dt="2025-07-04T13:01:34.372" v="3110" actId="13926"/>
          <ac:spMkLst>
            <pc:docMk/>
            <pc:sldMk cId="3357642481" sldId="2147470269"/>
            <ac:spMk id="24" creationId="{DED771C5-33D7-5DFC-066C-05C77474123C}"/>
          </ac:spMkLst>
        </pc:spChg>
        <pc:spChg chg="mod">
          <ac:chgData name="Alexandre Zanetti de Almeida" userId="129d4ce6-e715-4d33-b4c4-312f1656225b" providerId="ADAL" clId="{588B9DB1-5659-4DE1-805E-57B0F19426CD}" dt="2025-07-04T13:03:11.776" v="3160" actId="6549"/>
          <ac:spMkLst>
            <pc:docMk/>
            <pc:sldMk cId="3357642481" sldId="2147470269"/>
            <ac:spMk id="29" creationId="{C8CE7E6A-BE1C-7860-1389-3016B15B1CED}"/>
          </ac:spMkLst>
        </pc:spChg>
        <pc:spChg chg="mod">
          <ac:chgData name="Alexandre Zanetti de Almeida" userId="129d4ce6-e715-4d33-b4c4-312f1656225b" providerId="ADAL" clId="{588B9DB1-5659-4DE1-805E-57B0F19426CD}" dt="2025-07-04T13:02:00.707" v="3116"/>
          <ac:spMkLst>
            <pc:docMk/>
            <pc:sldMk cId="3357642481" sldId="2147470269"/>
            <ac:spMk id="30" creationId="{387101AD-9C77-B3E6-78B3-38D4080C5ABE}"/>
          </ac:spMkLst>
        </pc:spChg>
        <pc:spChg chg="mod">
          <ac:chgData name="Alexandre Zanetti de Almeida" userId="129d4ce6-e715-4d33-b4c4-312f1656225b" providerId="ADAL" clId="{588B9DB1-5659-4DE1-805E-57B0F19426CD}" dt="2025-07-04T13:02:01.783" v="3117"/>
          <ac:spMkLst>
            <pc:docMk/>
            <pc:sldMk cId="3357642481" sldId="2147470269"/>
            <ac:spMk id="31" creationId="{3DDE5FA7-373B-8CA5-793D-F921F55C31D2}"/>
          </ac:spMkLst>
        </pc:spChg>
        <pc:spChg chg="mod">
          <ac:chgData name="Alexandre Zanetti de Almeida" userId="129d4ce6-e715-4d33-b4c4-312f1656225b" providerId="ADAL" clId="{588B9DB1-5659-4DE1-805E-57B0F19426CD}" dt="2025-07-04T13:02:03.180" v="3118"/>
          <ac:spMkLst>
            <pc:docMk/>
            <pc:sldMk cId="3357642481" sldId="2147470269"/>
            <ac:spMk id="36" creationId="{4683E50E-DCEE-892B-4044-47D2836ECAC0}"/>
          </ac:spMkLst>
        </pc:spChg>
        <pc:spChg chg="mod">
          <ac:chgData name="Alexandre Zanetti de Almeida" userId="129d4ce6-e715-4d33-b4c4-312f1656225b" providerId="ADAL" clId="{588B9DB1-5659-4DE1-805E-57B0F19426CD}" dt="2025-07-04T13:02:05.196" v="3119"/>
          <ac:spMkLst>
            <pc:docMk/>
            <pc:sldMk cId="3357642481" sldId="2147470269"/>
            <ac:spMk id="37" creationId="{8B73FEA9-92F1-B43D-70E7-D69A0B9253A0}"/>
          </ac:spMkLst>
        </pc:spChg>
        <pc:spChg chg="mod">
          <ac:chgData name="Alexandre Zanetti de Almeida" userId="129d4ce6-e715-4d33-b4c4-312f1656225b" providerId="ADAL" clId="{588B9DB1-5659-4DE1-805E-57B0F19426CD}" dt="2025-07-04T13:02:06.358" v="3120"/>
          <ac:spMkLst>
            <pc:docMk/>
            <pc:sldMk cId="3357642481" sldId="2147470269"/>
            <ac:spMk id="38" creationId="{B05A42FB-ACCF-FF02-1C6A-9A5D06AA4E38}"/>
          </ac:spMkLst>
        </pc:spChg>
        <pc:spChg chg="mod">
          <ac:chgData name="Alexandre Zanetti de Almeida" userId="129d4ce6-e715-4d33-b4c4-312f1656225b" providerId="ADAL" clId="{588B9DB1-5659-4DE1-805E-57B0F19426CD}" dt="2025-07-04T10:44:39.004" v="3089" actId="20577"/>
          <ac:spMkLst>
            <pc:docMk/>
            <pc:sldMk cId="3357642481" sldId="2147470269"/>
            <ac:spMk id="45" creationId="{F2E73067-8CFF-6038-CDA2-FE6C30BA6E5D}"/>
          </ac:spMkLst>
        </pc:spChg>
        <pc:spChg chg="mod">
          <ac:chgData name="Alexandre Zanetti de Almeida" userId="129d4ce6-e715-4d33-b4c4-312f1656225b" providerId="ADAL" clId="{588B9DB1-5659-4DE1-805E-57B0F19426CD}" dt="2025-07-04T10:44:42.836" v="3094" actId="20577"/>
          <ac:spMkLst>
            <pc:docMk/>
            <pc:sldMk cId="3357642481" sldId="2147470269"/>
            <ac:spMk id="46" creationId="{3F95A05A-C82A-00B6-55BB-BB0FFA9E3351}"/>
          </ac:spMkLst>
        </pc:spChg>
        <pc:spChg chg="mod">
          <ac:chgData name="Alexandre Zanetti de Almeida" userId="129d4ce6-e715-4d33-b4c4-312f1656225b" providerId="ADAL" clId="{588B9DB1-5659-4DE1-805E-57B0F19426CD}" dt="2025-07-04T10:44:45.732" v="3097" actId="20577"/>
          <ac:spMkLst>
            <pc:docMk/>
            <pc:sldMk cId="3357642481" sldId="2147470269"/>
            <ac:spMk id="47" creationId="{1099CBC0-E1E8-7F8B-B2A0-990305534D7F}"/>
          </ac:spMkLst>
        </pc:spChg>
        <pc:spChg chg="mod">
          <ac:chgData name="Alexandre Zanetti de Almeida" userId="129d4ce6-e715-4d33-b4c4-312f1656225b" providerId="ADAL" clId="{588B9DB1-5659-4DE1-805E-57B0F19426CD}" dt="2025-07-04T10:44:29.492" v="3080" actId="20577"/>
          <ac:spMkLst>
            <pc:docMk/>
            <pc:sldMk cId="3357642481" sldId="2147470269"/>
            <ac:spMk id="58" creationId="{19BDCEE3-27C2-1B79-209E-5A86D66636C3}"/>
          </ac:spMkLst>
        </pc:spChg>
        <pc:spChg chg="mod">
          <ac:chgData name="Alexandre Zanetti de Almeida" userId="129d4ce6-e715-4d33-b4c4-312f1656225b" providerId="ADAL" clId="{588B9DB1-5659-4DE1-805E-57B0F19426CD}" dt="2025-07-04T10:44:33.904" v="3083" actId="20577"/>
          <ac:spMkLst>
            <pc:docMk/>
            <pc:sldMk cId="3357642481" sldId="2147470269"/>
            <ac:spMk id="59" creationId="{9BFC92F0-A767-52EC-7C3E-A36CA9E9C6C5}"/>
          </ac:spMkLst>
        </pc:spChg>
        <pc:spChg chg="mod">
          <ac:chgData name="Alexandre Zanetti de Almeida" userId="129d4ce6-e715-4d33-b4c4-312f1656225b" providerId="ADAL" clId="{588B9DB1-5659-4DE1-805E-57B0F19426CD}" dt="2025-07-04T10:44:36.042" v="3086" actId="20577"/>
          <ac:spMkLst>
            <pc:docMk/>
            <pc:sldMk cId="3357642481" sldId="2147470269"/>
            <ac:spMk id="60" creationId="{F47EAA47-9D55-E5E1-9012-3097E665D3C0}"/>
          </ac:spMkLst>
        </pc:spChg>
      </pc:sldChg>
      <pc:sldChg chg="addSp delSp modSp add mod">
        <pc:chgData name="Alexandre Zanetti de Almeida" userId="129d4ce6-e715-4d33-b4c4-312f1656225b" providerId="ADAL" clId="{588B9DB1-5659-4DE1-805E-57B0F19426CD}" dt="2025-07-04T13:03:22.759" v="3161"/>
        <pc:sldMkLst>
          <pc:docMk/>
          <pc:sldMk cId="3633522362" sldId="2147470270"/>
        </pc:sldMkLst>
        <pc:spChg chg="mod">
          <ac:chgData name="Alexandre Zanetti de Almeida" userId="129d4ce6-e715-4d33-b4c4-312f1656225b" providerId="ADAL" clId="{588B9DB1-5659-4DE1-805E-57B0F19426CD}" dt="2025-07-04T13:01:47.763" v="3111"/>
          <ac:spMkLst>
            <pc:docMk/>
            <pc:sldMk cId="3633522362" sldId="2147470270"/>
            <ac:spMk id="24" creationId="{5365ED1C-A159-3203-18E0-33FCF7FEDA2D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43" creationId="{C213E361-E14D-2596-A6DE-0B1140E1484F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45" creationId="{B8E9246F-38EE-0E5C-7E6A-616BA356516D}"/>
          </ac:spMkLst>
        </pc:spChg>
        <pc:spChg chg="mod">
          <ac:chgData name="Alexandre Zanetti de Almeida" userId="129d4ce6-e715-4d33-b4c4-312f1656225b" providerId="ADAL" clId="{588B9DB1-5659-4DE1-805E-57B0F19426CD}" dt="2025-07-04T13:03:22.759" v="3161"/>
          <ac:spMkLst>
            <pc:docMk/>
            <pc:sldMk cId="3633522362" sldId="2147470270"/>
            <ac:spMk id="46" creationId="{DDC94FE5-BC01-0010-A2B4-9C05814E63A0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1" creationId="{0953E87E-10DB-3769-2FAF-8DADB9C51C83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2" creationId="{E529218D-9FD9-0AE8-03BF-852E3FF14F3F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3" creationId="{07214AC9-7A62-0E99-0B93-C03F252D5235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54" creationId="{55455703-086F-3370-53B4-5EC75A908679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62" creationId="{BA5F2D05-E513-B20A-D0C9-68EF81977E33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67" creationId="{63539E79-6C9C-D2F6-3DCB-79E97C01E222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70" creationId="{51546D30-3F3D-38DB-8698-CB88A0999ADA}"/>
          </ac:spMkLst>
        </pc:spChg>
        <pc:spChg chg="mod">
          <ac:chgData name="Alexandre Zanetti de Almeida" userId="129d4ce6-e715-4d33-b4c4-312f1656225b" providerId="ADAL" clId="{588B9DB1-5659-4DE1-805E-57B0F19426CD}" dt="2025-07-04T13:02:22.444" v="3125"/>
          <ac:spMkLst>
            <pc:docMk/>
            <pc:sldMk cId="3633522362" sldId="2147470270"/>
            <ac:spMk id="73" creationId="{5CE6A90B-E3DB-FE18-A1D1-F55F41584267}"/>
          </ac:spMkLst>
        </pc:spChg>
      </pc:sldChg>
      <pc:sldChg chg="addSp delSp modSp add mod">
        <pc:chgData name="Alexandre Zanetti de Almeida" userId="129d4ce6-e715-4d33-b4c4-312f1656225b" providerId="ADAL" clId="{588B9DB1-5659-4DE1-805E-57B0F19426CD}" dt="2025-07-04T13:04:12.512" v="3168" actId="6549"/>
        <pc:sldMkLst>
          <pc:docMk/>
          <pc:sldMk cId="3765056613" sldId="2147470271"/>
        </pc:sldMkLst>
        <pc:spChg chg="mod">
          <ac:chgData name="Alexandre Zanetti de Almeida" userId="129d4ce6-e715-4d33-b4c4-312f1656225b" providerId="ADAL" clId="{588B9DB1-5659-4DE1-805E-57B0F19426CD}" dt="2025-07-04T13:04:12.512" v="3168" actId="6549"/>
          <ac:spMkLst>
            <pc:docMk/>
            <pc:sldMk cId="3765056613" sldId="2147470271"/>
            <ac:spMk id="24" creationId="{CF81BF84-662F-21C3-89CF-772E36C2DB0F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26" creationId="{4A21D24F-F8AC-F3A2-BE25-32698267985D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27" creationId="{3EAE0094-130F-8C58-ABC8-4D64A9DBA7FA}"/>
          </ac:spMkLst>
        </pc:spChg>
        <pc:spChg chg="mod">
          <ac:chgData name="Alexandre Zanetti de Almeida" userId="129d4ce6-e715-4d33-b4c4-312f1656225b" providerId="ADAL" clId="{588B9DB1-5659-4DE1-805E-57B0F19426CD}" dt="2025-07-04T13:03:37.348" v="3162"/>
          <ac:spMkLst>
            <pc:docMk/>
            <pc:sldMk cId="3765056613" sldId="2147470271"/>
            <ac:spMk id="29" creationId="{53B40E4C-25D7-7610-9EE5-9AF7A963AACB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31" creationId="{9279FBA2-9B70-A6E0-82CC-98CE83E61F7A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35" creationId="{647302DC-9C66-F868-0EE9-97C90445F58F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2" creationId="{1F3DE357-7632-05AF-5386-8FA91219FFA6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4" creationId="{7B020AAF-C82D-7806-D9A2-8AC105B373F2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46" creationId="{AFE3736F-0FD3-BD85-808E-7E4CAEA9C146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54" creationId="{AE73D30C-593D-AC00-F49D-EA9B1DDAC7D3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57" creationId="{FF483BD8-72C0-A1D9-3196-BD6AA8A5F6AC}"/>
          </ac:spMkLst>
        </pc:spChg>
        <pc:spChg chg="mod">
          <ac:chgData name="Alexandre Zanetti de Almeida" userId="129d4ce6-e715-4d33-b4c4-312f1656225b" providerId="ADAL" clId="{588B9DB1-5659-4DE1-805E-57B0F19426CD}" dt="2025-07-04T13:02:28.982" v="3127"/>
          <ac:spMkLst>
            <pc:docMk/>
            <pc:sldMk cId="3765056613" sldId="2147470271"/>
            <ac:spMk id="60" creationId="{4CAB1B5A-999E-5E6A-736E-30C334E51737}"/>
          </ac:spMkLst>
        </pc:spChg>
      </pc:sldChg>
      <pc:sldChg chg="addSp delSp modSp add mod">
        <pc:chgData name="Alexandre Zanetti de Almeida" userId="129d4ce6-e715-4d33-b4c4-312f1656225b" providerId="ADAL" clId="{588B9DB1-5659-4DE1-805E-57B0F19426CD}" dt="2025-07-04T13:04:05.926" v="3166" actId="6549"/>
        <pc:sldMkLst>
          <pc:docMk/>
          <pc:sldMk cId="1208368132" sldId="2147470272"/>
        </pc:sldMkLst>
        <pc:spChg chg="mod">
          <ac:chgData name="Alexandre Zanetti de Almeida" userId="129d4ce6-e715-4d33-b4c4-312f1656225b" providerId="ADAL" clId="{588B9DB1-5659-4DE1-805E-57B0F19426CD}" dt="2025-07-04T13:04:05.926" v="3166" actId="6549"/>
          <ac:spMkLst>
            <pc:docMk/>
            <pc:sldMk cId="1208368132" sldId="2147470272"/>
            <ac:spMk id="24" creationId="{355413C1-B0D7-8AE7-CF73-FD986BF2B363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6" creationId="{8832E10A-EA5D-60F4-8EE2-BB8350255C4C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7" creationId="{22B20BCF-ADD4-13C6-41AA-EC368BF95E0B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8" creationId="{B2BEDB60-A50F-1D81-1973-D09E6DF1A8B4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29" creationId="{0BEB8AA8-C8F7-3B38-C58C-75CB5AE33F40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37" creationId="{AFF55BB0-2BA9-644D-190A-A0F2FCC6A2D8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38" creationId="{795D76F5-41CE-D4CB-C11B-7DF7DC306845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42" creationId="{2A9146D8-AB42-6A31-BA1B-530F49B1E99F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47" creationId="{082D671D-89BD-AE35-9011-39B74A1E90C1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57" creationId="{DAB98467-50A6-225A-6173-B5DAE3697513}"/>
          </ac:spMkLst>
        </pc:spChg>
        <pc:spChg chg="mod">
          <ac:chgData name="Alexandre Zanetti de Almeida" userId="129d4ce6-e715-4d33-b4c4-312f1656225b" providerId="ADAL" clId="{588B9DB1-5659-4DE1-805E-57B0F19426CD}" dt="2025-07-04T13:02:34.721" v="3129"/>
          <ac:spMkLst>
            <pc:docMk/>
            <pc:sldMk cId="1208368132" sldId="2147470272"/>
            <ac:spMk id="60" creationId="{B9A589C5-632B-FF54-DC78-793FC515C34A}"/>
          </ac:spMkLst>
        </pc:spChg>
      </pc:sldChg>
      <pc:sldChg chg="addSp delSp modSp add mod">
        <pc:chgData name="Alexandre Zanetti de Almeida" userId="129d4ce6-e715-4d33-b4c4-312f1656225b" providerId="ADAL" clId="{588B9DB1-5659-4DE1-805E-57B0F19426CD}" dt="2025-07-04T13:02:39.913" v="3131"/>
        <pc:sldMkLst>
          <pc:docMk/>
          <pc:sldMk cId="1486257267" sldId="2147470273"/>
        </pc:sldMkLst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26" creationId="{61FFF6E8-36D6-1605-CBFD-03648BC3E02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28" creationId="{3FEBD4A8-1CD3-117B-51A1-9938A7EF400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34" creationId="{D4473AB3-AC91-47AA-4E7D-25786348ABC5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38" creationId="{E64B8791-696C-76A5-B857-B9715D7EDD71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2" creationId="{BE871D68-1213-F429-E6B2-2AE01F41FBCE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4" creationId="{ED990495-C31B-9499-73BA-BA6C9BF06937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6" creationId="{A52387D6-9EB3-99DB-9B3E-859FDCAA52C8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47" creationId="{C68AEA82-1653-134E-32A8-E9CF32010266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54" creationId="{9F87FF5D-ADDB-1958-26B4-D2001ACC59AA}"/>
          </ac:spMkLst>
        </pc:spChg>
        <pc:spChg chg="mod">
          <ac:chgData name="Alexandre Zanetti de Almeida" userId="129d4ce6-e715-4d33-b4c4-312f1656225b" providerId="ADAL" clId="{588B9DB1-5659-4DE1-805E-57B0F19426CD}" dt="2025-07-04T13:02:39.913" v="3131"/>
          <ac:spMkLst>
            <pc:docMk/>
            <pc:sldMk cId="1486257267" sldId="2147470273"/>
            <ac:spMk id="55" creationId="{F17A5D8C-363A-4834-1C9C-1923FF3478E2}"/>
          </ac:spMkLst>
        </pc:spChg>
      </pc:sldChg>
      <pc:sldChg chg="delSp add del setBg delDesignElem">
        <pc:chgData name="Alexandre Zanetti de Almeida" userId="129d4ce6-e715-4d33-b4c4-312f1656225b" providerId="ADAL" clId="{588B9DB1-5659-4DE1-805E-57B0F19426CD}" dt="2025-06-30T14:48:16.166" v="1889" actId="47"/>
        <pc:sldMkLst>
          <pc:docMk/>
          <pc:sldMk cId="1816411801" sldId="214747029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25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8306218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7961296" TargetMode="External"/><Relationship Id="rId5" Type="http://schemas.openxmlformats.org/officeDocument/2006/relationships/hyperlink" Target="https://reports.rchland.ibm.com/cgi-bin/sf?TS016275734" TargetMode="External"/><Relationship Id="rId4" Type="http://schemas.openxmlformats.org/officeDocument/2006/relationships/hyperlink" Target="https://reports.rchland.ibm.com/cgi-bin/sf?TS015663910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3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5.png"/><Relationship Id="rId3" Type="http://schemas.openxmlformats.org/officeDocument/2006/relationships/image" Target="../media/image27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4.png"/><Relationship Id="rId2" Type="http://schemas.openxmlformats.org/officeDocument/2006/relationships/image" Target="../media/image26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3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1.png"/><Relationship Id="rId27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Datapower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mq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4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3.ibm.com/tools/caseviewer/listcases/?type=accounts&amp;id=0015000001OUsTkAAL&amp;name=BRADESCO%20SEGUROS%20S/A&amp;ICN=0041400" TargetMode="External"/><Relationship Id="rId2" Type="http://schemas.openxmlformats.org/officeDocument/2006/relationships/hyperlink" Target="https://w3.ibm.com/tools/caseviewer/listcases/?type=accounts&amp;id=0015000001OVOKjAAP&amp;name=BANCO%20BRADESCO%20S/A&amp;ICN=0050200" TargetMode="External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Bradesco Seguros – Rotta Seguros">
            <a:extLst>
              <a:ext uri="{FF2B5EF4-FFF2-40B4-BE49-F238E27FC236}">
                <a16:creationId xmlns:a16="http://schemas.microsoft.com/office/drawing/2014/main" id="{97F23CD2-DE55-FF16-BB10-CE33E28B5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8894" y="2511992"/>
            <a:ext cx="4416051" cy="1552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" descr="Picture">
            <a:extLst>
              <a:ext uri="{FF2B5EF4-FFF2-40B4-BE49-F238E27FC236}">
                <a16:creationId xmlns:a16="http://schemas.microsoft.com/office/drawing/2014/main" id="{D7EBC7DD-0C7F-DD3E-0E0C-58E40EDC65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8A75E89-8A5E-9C4E-8913-431969C8D27C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24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8C5E088B-F239-B4BC-57B6-18BF22947AE6}"/>
              </a:ext>
            </a:extLst>
          </p:cNvPr>
          <p:cNvSpPr txBox="1">
            <a:spLocks/>
          </p:cNvSpPr>
          <p:nvPr/>
        </p:nvSpPr>
        <p:spPr>
          <a:xfrm>
            <a:off x="298388" y="841234"/>
            <a:ext cx="5619212" cy="3163607"/>
          </a:xfrm>
          <a:prstGeom prst="rect">
            <a:avLst/>
          </a:prstGeom>
        </p:spPr>
        <p:txBody>
          <a:bodyPr vert="horz" lIns="91425" tIns="91425" rIns="91425" bIns="91425" rtlCol="0" anchor="b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SzPct val="100000"/>
              <a:buNone/>
              <a:defRPr sz="4800" b="0" i="0" kern="120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6CF840-F2AC-F04E-6A7C-314FB16032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FF9E604-CA67-181D-8E8F-E283D3D45A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BFFBA0-9D08-1E73-2F75-D466D9F0F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F6F06B9-B9E5-FBEE-A490-F2C4B14522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1BE09E-843F-406C-7696-2F4D36981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9AF334-D97C-D6DB-4785-385AB0CF3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E103-D3C4-2D9B-65BF-8D98A85900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003E6-C2FE-C15C-B8BD-B2CA05B53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39A080-1782-7912-7A44-D99B0C12550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201FCD-82F6-0B22-024F-2CE53364CB85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5B42C3-3FDA-895A-6A68-675D25B3396D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B475616-F36D-4D5F-0EAF-28E5FF406AC8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Q &amp; ACE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FD0D732-AA7C-AB14-B021-D6D8CD16354D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BD31EFD-A4FA-EC2C-ACEC-8BCE141FC2B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FE5BD75-A430-ACC0-D53F-0C73A44C749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7A9FC4C-2C91-5640-9129-0795C9E52FB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99CF641-B3E1-7B2D-2553-D2A86177F191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C4FD8A6-9869-CBF5-56F2-38372AB309F8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80BA4F0-C6ED-9698-60CB-FA52053407B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578D58B-81CB-E577-D88A-78FCECE32B3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A106B48-E731-608C-62F4-F43C675CAB3E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9" name="Straight Arrow Connector 4">
                <a:extLst>
                  <a:ext uri="{FF2B5EF4-FFF2-40B4-BE49-F238E27FC236}">
                    <a16:creationId xmlns:a16="http://schemas.microsoft.com/office/drawing/2014/main" id="{359A45D3-6EC0-F863-5D94-CC27340103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Oval 6">
                <a:extLst>
                  <a:ext uri="{FF2B5EF4-FFF2-40B4-BE49-F238E27FC236}">
                    <a16:creationId xmlns:a16="http://schemas.microsoft.com/office/drawing/2014/main" id="{C48F3D91-4C72-FEFB-2E99-4FDAF428F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1" name="Oval 6">
                <a:extLst>
                  <a:ext uri="{FF2B5EF4-FFF2-40B4-BE49-F238E27FC236}">
                    <a16:creationId xmlns:a16="http://schemas.microsoft.com/office/drawing/2014/main" id="{22746D51-BC70-5579-43D2-505CD0C5FBF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9ADC02DA-C2E6-5100-71C6-95F149ABEC5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42CB8807-2D08-4340-4551-56EBFFBE64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DE8FD40F-D5E3-48DF-7B2A-477C5FA2451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0D28E3FC-E90C-0197-5AA2-A67B180CC88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03" name="Oval 6">
                <a:extLst>
                  <a:ext uri="{FF2B5EF4-FFF2-40B4-BE49-F238E27FC236}">
                    <a16:creationId xmlns:a16="http://schemas.microsoft.com/office/drawing/2014/main" id="{97F17BA4-86AB-9174-A6B5-BD9FB4DBB90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07168531-8DB1-C473-F49D-13733D085AE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6E4FD14-B72F-6837-CB7F-E99488DCF99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AED6DB28-9735-0CB6-352E-E56EB5885CE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B6C7D63-B003-AA3E-33E9-5B24EDE60893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CC9D763-D196-5455-401F-090B590FB6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7E6C8D7-8765-578D-513E-150048DD819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MQ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ACE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8D8900E-4A35-5412-20B9-C0FF32D8B33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91" name="Straight Arrow Connector 4">
                <a:extLst>
                  <a:ext uri="{FF2B5EF4-FFF2-40B4-BE49-F238E27FC236}">
                    <a16:creationId xmlns:a16="http://schemas.microsoft.com/office/drawing/2014/main" id="{3751E062-8E34-B0EC-3F1A-A274A9760D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" name="Oval 6">
                <a:extLst>
                  <a:ext uri="{FF2B5EF4-FFF2-40B4-BE49-F238E27FC236}">
                    <a16:creationId xmlns:a16="http://schemas.microsoft.com/office/drawing/2014/main" id="{9D12DAD3-84CB-FB0A-4BAB-00B949CE259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3" name="Oval 6">
                <a:extLst>
                  <a:ext uri="{FF2B5EF4-FFF2-40B4-BE49-F238E27FC236}">
                    <a16:creationId xmlns:a16="http://schemas.microsoft.com/office/drawing/2014/main" id="{1AE2603F-C2E4-16DA-C5BB-FA701D72737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3E3FC662-7DB1-4470-C3BF-1F512090767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A0B7BEA1-C96D-9793-27FC-6CA33C967D2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4639EE3E-8AA6-7152-1A97-C576D564656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8EC0D84E-57C5-AC58-F960-2B86335B699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95" name="Oval 6">
                <a:extLst>
                  <a:ext uri="{FF2B5EF4-FFF2-40B4-BE49-F238E27FC236}">
                    <a16:creationId xmlns:a16="http://schemas.microsoft.com/office/drawing/2014/main" id="{54C99587-FE12-6997-D25C-0A0E2E85157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3885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408CC7-D125-8646-DFA2-4A54847AD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69F3D9C-4E7E-A456-A851-24B84632B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DFB74D-3C2F-231A-7EED-36E88A195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3F4C60-BD92-5F0F-B6CA-3C2D056BF1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0F9191-C56C-949E-5C0B-8002C5C367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9BC75F-01A0-91D2-D4C5-777E69907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CF7EA9-ADAB-B8E9-75DF-88084AF4E1B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36E97B-71DF-2B51-1707-E44AC2BAC69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5DE62D5-BBEC-E63B-A032-9C92A52DAE1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365ED1C-A159-3203-18E0-33FCF7FEDA2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Q &amp; ACE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4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4/07/2026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7754D46A-0F91-B061-5006-E1385835059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BA88996-7EC4-5BEB-EED6-9E403CC3AF48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213E361-E14D-2596-A6DE-0B1140E1484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2C15307-1D77-6964-57DA-7DD83A093AF5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8E9246F-38EE-0E5C-7E6A-616BA356516D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DC94FE5-BC01-0010-A2B4-9C05814E63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MQ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ACE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25D4FD0-D0AF-DBBE-7128-6D52A6CB926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CD034E5-C415-9416-A3D2-5994F847E0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68FCFE7-4BA9-9077-12C9-E9A484975BE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65FE3E47-2DE2-4586-311D-5A59DE482F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63539E79-6C9C-D2F6-3DCB-79E97C01E22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44B351B4-8779-5A69-56D2-4E674938204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7EBC6D80-1130-B417-FC0F-E71D241A5FB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65BF840B-8BD9-204D-5956-366A023341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0F4C5441-3604-658F-DECC-5DC4D164A88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5CE6A90B-E3DB-FE18-A1D1-F55F415842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51546D30-3F3D-38DB-8698-CB88A0999AD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43C3C6F-C548-9505-4F47-8C4F4B38B0B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953E87E-10DB-3769-2FAF-8DADB9C51C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529218D-9FD9-0AE8-03BF-852E3FF14F3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7214AC9-7A62-0E99-0B93-C03F252D523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5455703-086F-3370-53B4-5EC75A90867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E54E89B-B017-1770-EE65-6B720430FA9A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6190D15-409B-F794-5E96-E6051AC727C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7" name="Straight Arrow Connector 4">
                <a:extLst>
                  <a:ext uri="{FF2B5EF4-FFF2-40B4-BE49-F238E27FC236}">
                    <a16:creationId xmlns:a16="http://schemas.microsoft.com/office/drawing/2014/main" id="{1DC8E8FC-B9DC-A819-E91E-5BC6944AB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Oval 6">
                <a:extLst>
                  <a:ext uri="{FF2B5EF4-FFF2-40B4-BE49-F238E27FC236}">
                    <a16:creationId xmlns:a16="http://schemas.microsoft.com/office/drawing/2014/main" id="{3F087A4A-AFFD-B4B9-0023-2E822A0AA8C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Oval 6">
                <a:extLst>
                  <a:ext uri="{FF2B5EF4-FFF2-40B4-BE49-F238E27FC236}">
                    <a16:creationId xmlns:a16="http://schemas.microsoft.com/office/drawing/2014/main" id="{7F06E1A9-60BB-C1D8-D45D-072F6FE4912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DC1CDB93-2CCE-C68F-9573-9F259CBF5C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34AB7FDB-A9B9-0531-7CB2-A5563522F15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40A5977C-B7C4-F6AE-693B-265E6D0CC63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6135C823-7223-B2AB-7BEA-E375DAC8181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BA5F2D05-E513-B20A-D0C9-68EF81977E3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522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7C8B32-B7D6-4DC1-946D-7A4DE77B39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C60F20D7-B98C-7DE0-729A-918B90EE2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2174E5-71C9-9713-6EF2-4C7F46AA5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B52E2-5ACF-7858-3258-EDBC79FBDF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7E9B1A-08F0-05CE-880B-916A25B0E1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936515-94CA-E156-3A45-51C353571A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75F25C-F3E4-A195-330F-758A7DEB22C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C0A0CE-4FD6-F4C8-2F12-A32C06E8E31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sessment EL – 05/02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CD21765-4731-8CFB-0FFC-DF7E9AAE11D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2921942-5EF6-16FF-E30F-FB293D492CB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aPower</a:t>
            </a:r>
            <a:endParaRPr lang="pt-BR" sz="1400" b="1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elo Bast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2C31324-CCDA-4B18-D2BA-6EE1FCDA331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057E38-CFBF-DCC7-DCEA-E07A87D20CB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81E60A-7325-7C05-2D08-422528C63B8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1BB802-51F4-5ACE-2631-793C7229C87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F50997-D8A7-5B1C-D48F-8ED2BFE78E02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282266D-48E9-9304-8915-CB8E314CB92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sessment E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C6F6585-CFD9-61AF-2FC0-73C7C961FEE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sessment EL – 05/0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2797896-6A41-F0D5-009F-4CBBD77E037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A2E9492-7245-64A7-107C-7D2C091CA0B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D3790391-217B-A885-18B1-FDFC68FA0B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88BB36DE-2DD3-503E-738B-DF1DB0E9264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BB61308A-70E8-FFF7-FF67-871FAD6285A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4D82F1E9-770E-F968-231B-CFB525281A9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A6ACFD9-C1AA-EF63-7E51-759E0D64E55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5E8CBD4-A803-2232-FD00-57B67C5AB34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D2C82B8C-3307-36E9-60D7-076FA1B60D5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338BCC4D-ED25-1E58-A572-32BC7AC4D641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F6CA9D8-AA24-AB59-5C26-C4CE9C4CA8ED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B896A5-6EB1-3488-BFA7-84DC1BC8A344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2C5729-5CB2-717D-8DBD-6C83FBC3073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06B0BC2-BE08-FDFA-B1ED-19DE57BB988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2F35C61-494F-842B-8C5B-0F9D7485C2F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51525DC-6D42-9169-F4B7-208836B2B90A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para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Firmware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73A3B11-B509-6FDB-8626-66639CF7735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FBE51708-BC23-7D5A-DB83-31D6A7BBF5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2A9BC0CB-F2EE-B137-3B23-F7BC3329EF6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5EFB6D31-E37B-4F9A-D42E-6DA4E1F4352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16F669E5-5880-4420-5A59-9B31AD4ACEC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CE17416C-E59F-B706-305A-370DF71971F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42849A1-BBDE-2F9A-A6C2-FBF6E7CEBF3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92AEAB9C-356E-BFC7-DD65-F5C8AD660A6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0B481334-6C0F-7322-6566-09E01F6B2EE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7609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6C38D7-512E-680C-2976-B1EAA9C434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7452290C-F522-3F69-79D7-C8BDD1173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3420F0-3561-3FCB-F076-71270D6AC6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E03AA1-1641-696D-C233-80CF089E9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9997EC5-EB6C-84AB-FD02-06B4DC4C49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5E7097-6A7B-D776-9648-B0440CBE2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F1BBEE0-978D-7D9B-8C7B-BAE68DACF2B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C8FC877-9329-3BC7-BBE5-B59792D6D57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sessment EL – 05/02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E13FDB3-9626-8388-FB75-264E6C21914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81BF84-662F-21C3-89CF-772E36C2DB0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aPower</a:t>
            </a:r>
            <a:endParaRPr lang="pt-BR" sz="1400" b="1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elo Bast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3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4/07/2026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82D5DE31-130C-EC17-0301-D98685A6D9A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96DCFE5-DFBD-EF92-FCEC-CA3ACA5A0A0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A21D24F-F8AC-F3A2-BE25-32698267985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EAE0094-130F-8C58-ABC8-4D64A9DBA7F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A8D5A45-4B94-3DE4-C629-138F2A73CF1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3B40E4C-25D7-7610-9EE5-9AF7A963AACB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ei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Op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plo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para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Firmware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D7566B4-4402-9068-CB0E-DFE8FA5FE39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279FBA2-9B70-A6E0-82CC-98CE83E61F7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DE7A826-6BDB-D838-6912-8088650BEF1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691D0738-348C-DF29-9A7F-5B4D062988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AE73D30C-593D-AC00-F49D-EA9B1DDAC7D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1F0966E1-4C5B-DC86-8939-EE7B8F33520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064786F7-2426-4A55-2754-D5DDDDA01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C0042BE9-043A-092D-F2A0-63FCA5A269B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0BAA2054-8130-2555-0490-0EBE3508FCB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4CAB1B5A-999E-5E6A-736E-30C334E5173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FF483BD8-72C0-A1D9-3196-BD6AA8A5F6A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17B13BD-3318-CEA3-5EA5-ABFC2F092580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F3081BF-D53F-32F3-8581-BD1550C6BB6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47302DC-9C66-F868-0EE9-97C90445F58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B3E3879-8484-042E-D599-B309B212CD0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D808A7E-023D-54E0-368B-4B0B7BBFFFC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4B60693-3C08-EE35-0432-CF23E7F66AF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FC8ADFB-8094-1935-A7D2-E6225F42779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AA9E99F6-14D6-FE76-CF56-EBCE4A7796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F4B05C8-CFB2-3F3F-814E-CC039F34BA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1F3DE357-7632-05AF-5386-8FA91219FFA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4C9A89E-FDA0-20E4-8380-C7394E4F1A1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9E54F2A-570D-2B8B-8A43-6564DDAB0D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FE3736F-0FD3-BD85-808E-7E4CAEA9C14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8352BAD-B904-7424-6901-95DEDD668A5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7B020AAF-C82D-7806-D9A2-8AC105B373F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5056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5E5B5B-2C4C-5CCD-D022-6F6710B8C2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42EFAD0C-C723-FD34-4B12-F31BB46F0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015223-9C09-19B9-9455-6010155485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5262CD-7F6D-4CE1-B401-836DAD1A8D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632E0F-10DC-27BA-00CF-DEF8F4983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149CA0-496C-332F-88EC-B192E83EA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F979D46-62DC-090D-A15F-70D2A79F025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72370B1-02F3-CD1A-31CB-563F69D5BA0C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F0118A2-C88D-AEBA-10D7-55ADA5E3E7A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FA7E9E7-37CF-9C6F-E5F3-7B8B3072D41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PI &amp; Event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eam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Event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agão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acini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Jeferson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EFC9C831-9978-EA36-30BF-114CFB58764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E98A3C-90D0-AEE7-29D8-8BF9121E2F3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B5BBF1C-F1CD-9141-9303-3ED8324AA1C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4B0F08F-9ECB-8819-5666-61EA1812772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EDAD78-39EA-A67A-47BD-EAF1A1EE06B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8922B77-09D0-575F-C62E-78FE665F9CE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D7C356C-833F-C3F8-0C1A-4C5FCA8B773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34BE4B-5087-7276-21D4-2EE8C2EF17F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4E33359-C476-6D0B-A2B5-41FB6ADA6F3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3CAE6098-C89B-2046-11C2-9FF0C9BA0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D979121F-24B8-7584-9545-18667C7D5FF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E953FEB8-AEC5-768A-7759-C6187C7E13D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05BF6FD-6291-822E-43B8-8F82F0B8693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2C16CAC0-931A-E047-03FB-F791761A9D0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8A342FF4-434F-5BBE-74D2-6486D28FF79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EFFA4A58-6D9E-736D-6FDE-DB5912CB7B8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C3EA1EB-0EF2-2E01-B9AC-5C2D67C8F07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F5306C-141C-50E8-03B0-1C474AA0E0B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B25A38F-FD77-B21F-87DA-36188055F4A6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9FA0897-52E2-37BC-F8C1-EDAC206EAF2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575C178-4605-037C-3E32-081829EE6E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B6EB54-8CB5-80BB-2F7B-1849D6FE418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nstalar &amp; rodar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icense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rvices</a:t>
              </a:r>
              <a:endParaRPr lang="pt-BR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Even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ream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D75F47A-64B1-7401-252D-FC8109FBDD9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Event Automation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33101CF-7095-C678-B0C9-CF7905AC78E4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A0492A79-2D10-0671-5BE4-D59C20DCF8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12F180B1-D9A9-D8A4-0C4F-B8B7A3905CD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B3C42EF0-FD2E-350B-B72A-D7F05FD6584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7ED64AED-C536-1EB0-F328-63F39E00903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2C0D0365-1E06-6C45-4E70-546EC28845A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D1FB4B76-7948-FE00-E3FE-B85538DFFE0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CEAF3807-A7EA-6320-507A-E044E79B222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CE074C75-C61B-EAD7-EB65-8E95C8319B4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1867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14F14E-7C38-2BC9-5735-606A108E8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2E0143CF-002E-8BDF-3933-89EE9EFB2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B6A207-051B-9AA9-5896-81FA55A63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4D2BEA-2048-05B3-295F-15A18DBF20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D3C53A-EBD7-4111-62CA-4E561FF4F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C4BD76-CC3C-5A16-E56A-1FAD5123E8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1BE35E1-B6E8-88E2-3992-EE770A4C9F4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B5127D-9155-4BDB-26EE-AEE31F322F1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FDEA71-D834-15E2-4E2F-14B36D13545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5413C1-B0D7-8AE7-CF73-FD986BF2B36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PI &amp; Event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eam</a:t>
            </a:r>
            <a:r>
              <a:rPr lang="pt-BR" sz="1400" b="1" dirty="0">
                <a:solidFill>
                  <a:schemeClr val="tx1"/>
                </a:solidFill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Event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agão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acini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Jeferson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3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4/07/2026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1712768A-12D7-71ED-672E-85585D8F693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F909F3E-27FB-5A9A-91C9-9B8180C8B9AF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32E10A-EA5D-60F4-8EE2-BB8350255C4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B20BCF-ADD4-13C6-41AA-EC368BF95E0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2BEDB60-A50F-1D81-1973-D09E6DF1A8B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EB8AA8-C8F7-3B38-C58C-75CB5AE33F4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oas práticas 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X ES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ferecer ajuda para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etu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Fabi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annel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s Operadores (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hemaRegistry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: Troca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ustore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p12 do E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nector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urce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inc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Event Automation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5C71758-1D03-9B51-0650-E79F8DB2304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08A5744-B158-A9AE-3B00-5F791DC77B72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86663CC-4EC1-75B0-6A03-8292389F5B46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D366E2C3-1D76-57C3-AFB8-A598AA39E6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4C41096D-341B-2A31-DEA7-09015746F9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7F4B909F-3B5D-1881-B466-59940741156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740D4A5E-267E-261D-DE6F-875E189ADDD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033E07D-EC60-CCF7-66E5-B2A3E7DCABD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44FF5C0D-E316-61CF-F684-7EDB63658BD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B9A589C5-632B-FF54-DC78-793FC515C34A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DAB98467-50A6-225A-6173-B5DAE369751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E169F21-DBBF-DE74-AFDB-7CFE304AE11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73E4D1-5941-CF0B-EB20-8AA3904944A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1F91CC0-8A27-9A02-AD1B-B5485D8C012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8F5FA62-D89E-0020-E90E-B3CD72DC9A98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FF55BB0-2BA9-644D-190A-A0F2FCC6A2D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95D76F5-41CE-D4CB-C11B-7DF7DC30684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B6A0829-2EE1-E951-98F8-4F2C5FEB080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DE09B7D-5E40-F70F-FF2A-755E26A56B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9E3A6BF1-5819-6B30-B520-FBD245A195D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A9146D8-AB42-6A31-BA1B-530F49B1E99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8CC19C7-6668-61D0-72D6-3369C2005F0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17A84F8-F169-1D73-CE66-2A95EE585B6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2AFF289-311B-4C2F-ACF9-4C5E3601752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082D671D-89BD-AE35-9011-39B74A1E90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E79D08A-B75D-9071-21E7-9E0E016218F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8368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9A6F377-DC29-E7AA-08D2-B54D2F026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19CE1C-B37B-E98A-C460-D38BA4704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9399FC-91CB-56C8-F787-74DDC1349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D28294-65CA-D54B-E854-2F7D934F53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E51FED-DAA3-52DB-F0BE-4BAA3CC3B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8A2DD7-ABBC-203B-88C3-B68FB8A6D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69A3E3-98F5-B9EA-A0E3-AE77BE43C4FD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CCBAF7-553B-6484-76A2-A2FAB9B8E5ED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391882-00BD-1A9F-115A-92E028BC6CC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8EF283B-3DE2-C70A-F5EF-DF0E208EB5C8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pera</a:t>
            </a:r>
            <a:endParaRPr lang="pt-BR" sz="1400" b="1" dirty="0">
              <a:solidFill>
                <a:schemeClr val="tx1"/>
              </a:solidFill>
              <a:highlight>
                <a:srgbClr val="C0C0C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89CFA48-82D4-659A-2F62-D65AB6DEF02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A043B-89C2-2D25-8276-FB1E32A1CDFB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99CF7B-7A90-F141-35E1-A316ACAAFF1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2A86F3A-BD24-6DDE-0709-838E4AA279E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922B01-6A8A-ADDC-E3FD-03C2EA585F0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E78203B-B5EF-2184-04CE-FFB7A054CC7B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9FE331-F2D9-1BDA-31CA-B3700FCF2AD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5D318E-B9C7-7E52-CD1B-B166E17ACCC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959CD39-468C-7CDD-A501-530269B3A72F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E104D0C2-67A1-5917-1370-1EE4587481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Oval 6">
                <a:extLst>
                  <a:ext uri="{FF2B5EF4-FFF2-40B4-BE49-F238E27FC236}">
                    <a16:creationId xmlns:a16="http://schemas.microsoft.com/office/drawing/2014/main" id="{B59C23E1-F20D-F6F1-CE67-1DA1637B3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Oval 6">
                <a:extLst>
                  <a:ext uri="{FF2B5EF4-FFF2-40B4-BE49-F238E27FC236}">
                    <a16:creationId xmlns:a16="http://schemas.microsoft.com/office/drawing/2014/main" id="{60D483B3-E2F9-1CC4-D07F-660E1CD1D2A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1DB87175-9F46-F004-5204-E78D36392B1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DB302B55-51AD-51CA-93E4-10E1019884F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E6F1E5FA-0DDB-599B-7E88-A55E1F6523A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6D3BE27C-3B4F-182C-B65B-B3F9B1C9DDE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5CEC998B-751F-18AE-910C-FCEC7844F4AB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EEDC34B-43EA-11AB-4BD9-E5F30F516479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A04EF7-94DF-268D-477B-9113AFEA506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192342-2B69-76A4-6B8A-D8BF017A3A9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BA8487D-C907-1293-5502-B2D9681BE8F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402CCB8-CD5A-84DB-1099-8906FEB0A66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4BFAAC7-A7DB-10EC-78F1-D243C7C4D1B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0611136-2ED2-266C-2B8D-C26A9B6EC284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50" name="Straight Arrow Connector 4">
                <a:extLst>
                  <a:ext uri="{FF2B5EF4-FFF2-40B4-BE49-F238E27FC236}">
                    <a16:creationId xmlns:a16="http://schemas.microsoft.com/office/drawing/2014/main" id="{51CB1547-83DE-4FEE-96FE-08F036727A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6">
                <a:extLst>
                  <a:ext uri="{FF2B5EF4-FFF2-40B4-BE49-F238E27FC236}">
                    <a16:creationId xmlns:a16="http://schemas.microsoft.com/office/drawing/2014/main" id="{92F8944C-903E-0F9B-158E-1B937F755E7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Oval 6">
                <a:extLst>
                  <a:ext uri="{FF2B5EF4-FFF2-40B4-BE49-F238E27FC236}">
                    <a16:creationId xmlns:a16="http://schemas.microsoft.com/office/drawing/2014/main" id="{07D3CD76-8AA2-2A70-4211-E491E27B84D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EA305FB-8E9E-D713-CEE4-ADF480E63B0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0AE79986-C66A-E288-E770-91DC657AF25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811F9327-FFCD-91C0-3D19-903B5586882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ECF549B1-4594-404C-F204-06C093A92AB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9EADE267-7BE7-0EBE-F21B-A6A5D1D5EF5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97650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FB88E6-030B-1624-2850-59642BBE8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70F5138-950F-E1D5-D71E-F007767EB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B2F3AB-94EA-1663-0E8E-7CCBA1D9B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5927CF-346F-54F9-574C-06ED1F51AD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8356EE-A07A-CFE0-2BA0-CF5797831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820A1-DB10-00B6-F26D-3131E4DFC7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62C4057-D67F-5CC0-933D-CF07F302647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02BFBF-5DFB-9806-8792-BDF7C1FB00B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CB0E41-10C9-CCEA-B227-0028FBA27BFE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D44B86-6F01-BD07-5F76-A0CAE83104C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pera</a:t>
            </a:r>
            <a:endParaRPr lang="pt-BR" sz="1400" b="1" dirty="0">
              <a:solidFill>
                <a:schemeClr val="tx1"/>
              </a:solidFill>
              <a:highlight>
                <a:srgbClr val="C0C0C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3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4/07/2026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8135EB66-3BCE-1EE1-301A-4A10DC3F4C2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880689-43A4-5A43-09D2-2AC407AB707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1FFF6E8-36D6-1605-CBFD-03648BC3E026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5AA8BD2-2442-C9DF-3F9B-52220954775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FEBD4A8-1CD3-117B-51A1-9938A7EF400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17EDB34-ED80-442A-9285-79C942F9A6F8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1B705DE-EE8C-280D-5501-D23442A9617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E8E98A-F839-864E-AA45-876BADDFFF6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933EE61E-12E6-F8BD-30CC-B13DD147242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81E26FEC-FE2A-B750-4994-5FC92D4DED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9F87FF5D-ADDB-1958-26B4-D2001ACC59A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F17A5D8C-363A-4834-1C9C-1923FF3478E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1920FD13-F1C4-C923-32DB-1508C9B994D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EBAFF38-C14C-898C-E315-0E95922FAD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F414C487-72C3-5BC9-3946-99EF3D9F9CA9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ABB800B8-AA1A-5B07-325A-377420CA4A3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88637282-BF1D-DA0B-5403-8C0B57FDC13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776E221-0A67-A147-9F7F-A5BC1F9D7A7A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4473AB3-AC91-47AA-4E7D-25786348ABC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346B0BF-93B5-F378-E1E7-C160101C4F4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56CEA5D-409F-4304-D3AC-1A9CB4103DEB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B828B9E-9EAF-CDBF-50C8-20719A91827A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64B8791-696C-76A5-B857-B9715D7EDD7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664F690-398B-84ED-67B5-9B4A7F054E3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6B189D4-ABB2-52B4-9D86-3BD8F07748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07941236-6AFF-A95C-5BCD-A572664E6F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BE871D68-1213-F429-E6B2-2AE01F41FBC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7475C122-DF8D-D55B-7840-CF3D471DCB6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A7E3746-724C-ADEB-5770-8CA92A00BC4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52387D6-9EB3-99DB-9B3E-859FDCAA52C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68AEA82-1653-134E-32A8-E9CF320102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ED990495-C31B-9499-73BA-BA6C9BF06937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6257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78E997BD-2EFD-1D31-F558-8F81B797E9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8318AD-913B-8377-C38A-BF896D25B8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56D8F0-1127-89AB-1055-22BA99A3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02950B-6E30-44E6-B02B-2432BDAFC4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980ABE-0ADF-E025-0756-0DC7A8DCAB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035EAD-5601-68BD-812A-127723ACE88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Seg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41400)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AA917BB-54B8-4AA3-48D4-24D4E553B7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973091"/>
              </p:ext>
            </p:extLst>
          </p:nvPr>
        </p:nvGraphicFramePr>
        <p:xfrm>
          <a:off x="274154" y="1203767"/>
          <a:ext cx="11578321" cy="12142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1595679878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1743803749"/>
                    </a:ext>
                  </a:extLst>
                </a:gridCol>
                <a:gridCol w="1705622">
                  <a:extLst>
                    <a:ext uri="{9D8B030D-6E8A-4147-A177-3AD203B41FA5}">
                      <a16:colId xmlns:a16="http://schemas.microsoft.com/office/drawing/2014/main" val="4019112796"/>
                    </a:ext>
                  </a:extLst>
                </a:gridCol>
                <a:gridCol w="1087509">
                  <a:extLst>
                    <a:ext uri="{9D8B030D-6E8A-4147-A177-3AD203B41FA5}">
                      <a16:colId xmlns:a16="http://schemas.microsoft.com/office/drawing/2014/main" val="2953344599"/>
                    </a:ext>
                  </a:extLst>
                </a:gridCol>
                <a:gridCol w="505926">
                  <a:extLst>
                    <a:ext uri="{9D8B030D-6E8A-4147-A177-3AD203B41FA5}">
                      <a16:colId xmlns:a16="http://schemas.microsoft.com/office/drawing/2014/main" val="806385850"/>
                    </a:ext>
                  </a:extLst>
                </a:gridCol>
                <a:gridCol w="389984">
                  <a:extLst>
                    <a:ext uri="{9D8B030D-6E8A-4147-A177-3AD203B41FA5}">
                      <a16:colId xmlns:a16="http://schemas.microsoft.com/office/drawing/2014/main" val="206000986"/>
                    </a:ext>
                  </a:extLst>
                </a:gridCol>
                <a:gridCol w="1201573">
                  <a:extLst>
                    <a:ext uri="{9D8B030D-6E8A-4147-A177-3AD203B41FA5}">
                      <a16:colId xmlns:a16="http://schemas.microsoft.com/office/drawing/2014/main" val="1444745235"/>
                    </a:ext>
                  </a:extLst>
                </a:gridCol>
                <a:gridCol w="310563">
                  <a:extLst>
                    <a:ext uri="{9D8B030D-6E8A-4147-A177-3AD203B41FA5}">
                      <a16:colId xmlns:a16="http://schemas.microsoft.com/office/drawing/2014/main" val="157435212"/>
                    </a:ext>
                  </a:extLst>
                </a:gridCol>
                <a:gridCol w="416688">
                  <a:extLst>
                    <a:ext uri="{9D8B030D-6E8A-4147-A177-3AD203B41FA5}">
                      <a16:colId xmlns:a16="http://schemas.microsoft.com/office/drawing/2014/main" val="1854774079"/>
                    </a:ext>
                  </a:extLst>
                </a:gridCol>
                <a:gridCol w="405114">
                  <a:extLst>
                    <a:ext uri="{9D8B030D-6E8A-4147-A177-3AD203B41FA5}">
                      <a16:colId xmlns:a16="http://schemas.microsoft.com/office/drawing/2014/main" val="3904112106"/>
                    </a:ext>
                  </a:extLst>
                </a:gridCol>
                <a:gridCol w="555585">
                  <a:extLst>
                    <a:ext uri="{9D8B030D-6E8A-4147-A177-3AD203B41FA5}">
                      <a16:colId xmlns:a16="http://schemas.microsoft.com/office/drawing/2014/main" val="4001967012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4214292887"/>
                    </a:ext>
                  </a:extLst>
                </a:gridCol>
                <a:gridCol w="729735">
                  <a:extLst>
                    <a:ext uri="{9D8B030D-6E8A-4147-A177-3AD203B41FA5}">
                      <a16:colId xmlns:a16="http://schemas.microsoft.com/office/drawing/2014/main" val="1519295886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3298505036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er number</a:t>
                      </a:r>
                    </a:p>
                  </a:txBody>
                  <a:tcPr marL="8773" marR="8773" marT="877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Produc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ase numb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yp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Statu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Status descrip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PRI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NED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UPD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LOSE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10416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pp Connect Enterpris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4"/>
                        </a:rPr>
                        <a:t>TS015663910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3-0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4-2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3-2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5109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MQ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5"/>
                        </a:rPr>
                        <a:t>TS016275734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5-2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8-0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07-0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9320398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Event Stream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6"/>
                        </a:rPr>
                        <a:t>TS017961296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4-12-0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2-0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1-0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0883789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00414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pp Connect Enterpris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sng" strike="noStrike">
                          <a:effectLst/>
                          <a:hlinkClick r:id="rId7"/>
                        </a:rPr>
                        <a:t>TS018306218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osed - Archiv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1-2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025-02-2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5-01-2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4200684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380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DFF65BD-8655-5970-016B-E1EBE8E9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BA96E6-00CA-C692-D840-3151BA1B34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92ACCF-6108-AA1B-87FE-42AA26F77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4BCDE8-0BD6-81B0-4708-262E64D2E4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C9C82C-E552-217E-058F-E916D9024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7499B567-F417-E5E8-58AA-8B9F706E5E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F09778B-3504-6D7D-1A93-50F5EC802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020CD81-9240-FA58-3A2F-45FD9DD7FB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998279-FF60-0D95-441F-5BAF8EC92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8B5BD70-4039-D7BE-4A62-1CEA208780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5A76FF4-44D6-3857-2725-8421138EE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B2BDBCF-5618-7532-1158-39680253198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965F3BC-AA6A-5D2C-B1DC-C8925CCB4CF7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3E6E747-9178-08BD-5270-C4BE85C52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E95DEFF-E351-9444-A979-E62D96D08284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4AC1F77-D4D9-9B07-3A2C-E9CC7F1332F8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6F76DD90-430A-3F3A-660A-CE24B7642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0D9311D-D7D2-B058-B0F0-A05BDC7BCEE7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331F61CA-E78D-151C-27D6-8C6A76EAE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439FD31D-2D52-F92B-57D4-4858C36B0782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8AE9059-3D16-C0F6-CD26-F5AAE6B062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D4593B1E-1F95-F476-BAD8-8F7A2997593B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62" name="logo2-04.png" descr="logo2-04.png">
            <a:extLst>
              <a:ext uri="{FF2B5EF4-FFF2-40B4-BE49-F238E27FC236}">
                <a16:creationId xmlns:a16="http://schemas.microsoft.com/office/drawing/2014/main" id="{79D6BF57-20E2-18DC-D6A0-5FE1D2EA65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750665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F603102-40D2-C729-BF53-6D757A6BB2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72E320A3-6972-B5E9-AE11-BCF898DE8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E13E1E-80C2-0CCE-8F55-3DBDCF8823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CC654D-3FDC-D6C7-8933-87568DB97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719C2A-6408-20DE-B635-CB8359DC44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F22B1D-5AAD-2F81-5397-EC77C0668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9CEF80-6606-21C4-6F67-04180ACBA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1854A5-CC10-CA46-A387-EDB694B0EA2B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93537B-8893-6D23-0D7D-51BD3A35FE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B89FCE2-CCA6-0582-C2FA-8921BFEF310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D98250-7139-97D9-5B3F-CF8A63AF57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CF7B065-37B1-EB2E-47AF-936F1D3D69CA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DD40FC-E878-6D8E-965E-AA253EA6D380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1FC9111-AFE1-932B-5B1E-9B6A6BA6C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5EFDD09-15CC-2285-F2F3-CA26B629345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774A300-6DF1-5F50-11C7-E9E26C719438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E878535-61DF-8541-49AB-7F97DBCA0767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4A225CCF-DE3B-C1DD-E1F2-35BFD226A4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7919FBA-A640-F58E-DE9B-ECC7D7B8B912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F6B6888-CC3D-2CC2-AD5D-AF3D33E8D862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220A4DC-B8EB-667F-895D-01D941FB8F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6669320-4F67-3911-AC8D-4A9A7511E84F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CDF2A9F-8CCC-9A98-7A36-737F66B216E8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3BFEFF3E-85D6-67C6-940B-51ECC2EF3E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DE71554B-63B1-BFFF-48F4-ED891A1BD30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175BECD-4E49-5F88-C182-E437B4D251D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979D87CB-3D18-0F22-3753-BDE7B3EF9F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6172D43-8060-1B7F-82CB-89622A8C0EF5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88C448AC-ADDE-B530-4498-9B0EACB2DC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4BD96F97-B388-6B85-1AA9-4A88896D6966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E5BCBFF4-5AA7-050E-740F-CAE45D691A37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777B8C7-1506-D5B2-83A8-3CC93515536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255EB8A0-C063-0EE2-0F0C-F2E33CB75723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D1C0A36-B0A5-28EB-E12E-D781FA284C57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ACB1EB-F158-696D-16FA-3D4970B6BB70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59CB906-CE6A-84C5-E46C-0816D4F9334A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4A28B69C-C325-A11A-E3D6-F3BCB72D5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E2BD2B6B-EA32-63CA-33E3-DFEB8FE36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11119BCB-9DF5-852A-C37B-7E1CA7598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2BCC54EC-5002-D205-9E5E-E7F5EBA58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FC4F6FEC-233C-822A-AD51-6667B4B8E3D8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FF519-A3EF-E265-1A0C-A9A1EC9F2E30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4BD9D72-C03D-B18D-5C43-307A6026372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473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29A1860-31C4-47CF-C8EE-445BDF12F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2D3D94-15EB-DB7E-17CF-8CFE7001345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ibm%20Datapower</a:t>
            </a:r>
            <a:r>
              <a:rPr lang="en-US" sz="800" dirty="0"/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C2D00BE-97E4-F5CA-B1BA-C96DA4E27694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2E7EA00-ACB1-AB01-2338-591504981BA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7217482-C395-26FD-8957-3C3F53D1DE9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4A15C7-C7B7-ED0B-79B1-EF9064030A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80AD1E-D32D-8609-0665-3E2BB1D90F8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274E2E5-51ED-67F2-EC8D-32E03C11605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6C4A64-BF0B-AA6A-82E7-1D5DD97908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31252D6-7DB8-EC0F-0BE6-5C52F58A5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50E85D-861B-8BD8-0A43-F19965D053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7A7CF3-43A7-C4B6-8DB8-A4F2FFA51D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DC0EEC-CBDE-30AA-B922-51E392883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3F508D-A3FC-EB88-BCB5-31A4A5D5E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5327C8-0428-3C99-59B6-3C0A191B9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A6D7B257-AF5C-1C2B-F6F6-74A449292F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C852D-63EF-93A6-1933-6D4C2BF44DC8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F635FD-C220-2E8A-0B6B-FB88F05AF00C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AE98B7-B9AD-B057-0A85-64ABFEB2D57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024BAE-0C2B-4615-3603-7865283313E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29444A-20C4-6CB9-CB16-7DD11A5C31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747713-14E5-461C-3415-94ADAC731D6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9D4FFF7-EA9F-10E9-1F34-00F30E88F7BE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866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504415-6C33-16D6-4BD7-B59A430A49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69AACB-5D3E-23A8-5C22-1AAFD1F21D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8" name="logo2-04.png" descr="logo2-04.png">
            <a:extLst>
              <a:ext uri="{FF2B5EF4-FFF2-40B4-BE49-F238E27FC236}">
                <a16:creationId xmlns:a16="http://schemas.microsoft.com/office/drawing/2014/main" id="{9AB4DE79-782F-F692-7314-B1B92EDDC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4F9D1DE-AF87-B50E-96C9-7C96B5E6E3DC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FE6D06-08F5-95AB-6484-5190F6B9B5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D460F8B-625C-937A-CCBD-5E1A7BB4B4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D9E6AA1-CF5B-69D2-DF4F-E31105CE927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640EA2C-BFC7-CC9D-B8DB-09F92016664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3C70620D-8F56-CC6C-E010-E56BD5A88E4C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E22F0611-FB40-566E-B12F-97B368CB0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CC9319-EDB8-50C9-EE47-A1ADC4A439CB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F143CF-8D3E-71CF-844F-E4D5A0BCF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FA5AD2D-2F83-E889-6C00-78742D39C96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9DCBBB9-71AC-0ACF-4994-605A0F6BC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C97F38A-6F2B-F632-3AEA-B0AD26AB7D3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D5A46EB-20E8-3023-2CD6-51E27446A7CB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3D8B9ECA-C429-88A0-C86A-83D8AEE10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4A60BD-1D02-B0F6-C2C5-17576F9DEAB2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06D520-DA20-5326-B25F-C8511ADFB2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96B4DE-5B0D-1F18-81E4-D15BF5711C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1745AAF-7C80-B52A-216A-156073425606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45E56F6-36BA-AE3F-E3B6-82CF4FBDC96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81E21E8-51E8-38C2-97AA-E65D5F3A7D7F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9FF7149-72BA-1C3D-0122-9DD6F6EC6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B0BB87D1-31AE-47C0-FEC8-C9D78CC6AF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AC0C6-FEA2-8C3E-247E-B674857509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F2813E-A0D7-C94B-08C0-AB900681F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7CF989-45B2-6A50-201A-BED92CCBE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A9CCC5-7737-E922-90EB-F3C923637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F74A3AB-EA79-C475-929B-1811D6F46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3E56FBD8-4E9D-09B4-17B9-4CC6E68645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6646CE-2BAE-00B1-74CF-1694A4BAFC7A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C72B22-606F-AA93-748A-B8D662E6F0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A41F534-6782-641F-4FCB-742022EED7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66674E-0A5D-2130-9FF2-F2D2351EB74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44A941D-0B8F-FB56-1E72-BECEAC3D22A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B5B8A0F-FFA7-BDFF-7AE2-2CEEC949A0F2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10A7A218-2464-64CD-D158-D3432F24C63A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5D180E4-6CFE-C152-9770-08FC1F15BEEF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8276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5BE80F29-4B1C-19FD-F9E4-3E4305F21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C5E421E-DB5D-E82F-DE53-43065FF9531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02FD2B-3180-9044-34BC-1019D9FE30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68A19EF-3F87-DBB8-24A3-56C4A317655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A4ABCBB-5B72-5FD2-CD58-3524AEC6EE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698308B-E0DD-84B3-EEC8-6E14C07893B0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F5AB65D-A3E0-2813-B7C9-EB9C1D0F8052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5F7329C5-5652-58AC-8CE2-0D28A42D2E85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DE90AE-412F-261F-3982-C25730F243DD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7D89EA-FC1A-B3E0-8D3A-D27508AABD72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2A44A-80AF-9084-7278-EC47C3874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3">
            <a:extLst>
              <a:ext uri="{FF2B5EF4-FFF2-40B4-BE49-F238E27FC236}">
                <a16:creationId xmlns:a16="http://schemas.microsoft.com/office/drawing/2014/main" id="{B6A0960A-5837-D618-312A-24929D43D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785150"/>
              </p:ext>
            </p:extLst>
          </p:nvPr>
        </p:nvGraphicFramePr>
        <p:xfrm>
          <a:off x="3741779" y="524314"/>
          <a:ext cx="825040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497">
                  <a:extLst>
                    <a:ext uri="{9D8B030D-6E8A-4147-A177-3AD203B41FA5}">
                      <a16:colId xmlns:a16="http://schemas.microsoft.com/office/drawing/2014/main" val="3186576710"/>
                    </a:ext>
                  </a:extLst>
                </a:gridCol>
                <a:gridCol w="627553">
                  <a:extLst>
                    <a:ext uri="{9D8B030D-6E8A-4147-A177-3AD203B41FA5}">
                      <a16:colId xmlns:a16="http://schemas.microsoft.com/office/drawing/2014/main" val="2341789982"/>
                    </a:ext>
                  </a:extLst>
                </a:gridCol>
                <a:gridCol w="824249">
                  <a:extLst>
                    <a:ext uri="{9D8B030D-6E8A-4147-A177-3AD203B41FA5}">
                      <a16:colId xmlns:a16="http://schemas.microsoft.com/office/drawing/2014/main" val="2112668355"/>
                    </a:ext>
                  </a:extLst>
                </a:gridCol>
                <a:gridCol w="624505">
                  <a:extLst>
                    <a:ext uri="{9D8B030D-6E8A-4147-A177-3AD203B41FA5}">
                      <a16:colId xmlns:a16="http://schemas.microsoft.com/office/drawing/2014/main" val="1977786441"/>
                    </a:ext>
                  </a:extLst>
                </a:gridCol>
                <a:gridCol w="3589755">
                  <a:extLst>
                    <a:ext uri="{9D8B030D-6E8A-4147-A177-3AD203B41FA5}">
                      <a16:colId xmlns:a16="http://schemas.microsoft.com/office/drawing/2014/main" val="1961297883"/>
                    </a:ext>
                  </a:extLst>
                </a:gridCol>
                <a:gridCol w="714898">
                  <a:extLst>
                    <a:ext uri="{9D8B030D-6E8A-4147-A177-3AD203B41FA5}">
                      <a16:colId xmlns:a16="http://schemas.microsoft.com/office/drawing/2014/main" val="1183770746"/>
                    </a:ext>
                  </a:extLst>
                </a:gridCol>
                <a:gridCol w="675943">
                  <a:extLst>
                    <a:ext uri="{9D8B030D-6E8A-4147-A177-3AD203B41FA5}">
                      <a16:colId xmlns:a16="http://schemas.microsoft.com/office/drawing/2014/main" val="2190282539"/>
                    </a:ext>
                  </a:extLst>
                </a:gridCol>
              </a:tblGrid>
              <a:tr h="228189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Produ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err="1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ev</a:t>
                      </a:r>
                      <a:endParaRPr lang="pt-BR" sz="11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err="1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scription</a:t>
                      </a:r>
                      <a:endParaRPr lang="pt-BR" sz="11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a Aber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a Fech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86118"/>
                  </a:ext>
                </a:extLst>
              </a:tr>
              <a:tr h="228189">
                <a:tc>
                  <a:txBody>
                    <a:bodyPr/>
                    <a:lstStyle/>
                    <a:p>
                      <a:pPr marL="0" algn="l" defTabSz="914377" rtl="0" eaLnBrk="1" fontAlgn="ctr" latinLnBrk="0" hangingPunct="1"/>
                      <a:endParaRPr lang="en-US" sz="1400" u="none" strike="noStrike" kern="1200" dirty="0">
                        <a:solidFill>
                          <a:srgbClr val="0F62FE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kern="1200" dirty="0">
                        <a:solidFill>
                          <a:srgbClr val="161616"/>
                        </a:solidFill>
                        <a:effectLst/>
                        <a:latin typeface="inheri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pt-BR" sz="1000" dirty="0">
                        <a:solidFill>
                          <a:srgbClr val="161616"/>
                        </a:solidFill>
                        <a:effectLst/>
                        <a:latin typeface="inheri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1627915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A5CEA5-987B-408C-78BA-94F1523D8319}"/>
              </a:ext>
            </a:extLst>
          </p:cNvPr>
          <p:cNvSpPr txBox="1"/>
          <p:nvPr/>
        </p:nvSpPr>
        <p:spPr>
          <a:xfrm>
            <a:off x="0" y="3075057"/>
            <a:ext cx="36449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200" dirty="0">
                <a:solidFill>
                  <a:schemeClr val="bg1"/>
                </a:solidFill>
                <a:latin typeface="+mj-lt"/>
              </a:rPr>
              <a:t>Chamados</a:t>
            </a:r>
          </a:p>
          <a:p>
            <a:pPr algn="r"/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 (0050200)</a:t>
            </a:r>
          </a:p>
          <a:p>
            <a:pPr algn="r"/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Seg</a:t>
            </a:r>
            <a:r>
              <a:rPr lang="en-US" sz="3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 (0041400)</a:t>
            </a:r>
            <a:endParaRPr lang="pt-BR" sz="3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0495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F64F2182-4498-065B-3CA2-CF5D27C7F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8D904DB5-F5E0-2EB0-F061-F7BFE3A8D7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7FCDF6-20E8-F309-B158-849AE30EC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51DC4B-C934-1138-84E1-51CE7CCF6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A8022D-72AA-1048-BD11-BFAD406F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9CB2D18-33A2-3920-15A5-78745A2651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logo2-04.png" descr="logo2-04.png">
            <a:extLst>
              <a:ext uri="{FF2B5EF4-FFF2-40B4-BE49-F238E27FC236}">
                <a16:creationId xmlns:a16="http://schemas.microsoft.com/office/drawing/2014/main" id="{32E9242E-D355-34FC-E16F-7A81B43D0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049AECD-9F97-CB30-F586-2D68DED5E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182A8E-278A-DA1C-C214-5A3BC8211C5F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EE745D5-6E87-6932-04A1-3B60D8A72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346895A-0DB9-D69A-57E4-4EC5FE510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4619" y="1301226"/>
            <a:ext cx="3115110" cy="5239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72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E1B6440-B0CB-4574-B16B-32EE3A4FFE8E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569346" name="Picture 2" descr="IBM Logo - PNG e Vetor - Download de Logo">
            <a:extLst>
              <a:ext uri="{FF2B5EF4-FFF2-40B4-BE49-F238E27FC236}">
                <a16:creationId xmlns:a16="http://schemas.microsoft.com/office/drawing/2014/main" id="{820DF905-2A69-41E1-B4AC-707DC7574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78C784-74CA-E338-0907-031EAF9309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E7CD37E-BDC6-3948-2252-B9661C5BFB6E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D0463-96D6-4BFD-4586-943379435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I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I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AA882DA6-D05A-A9AC-F7D4-CEFE9C55D3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5334586-1C27-E066-5791-4CF4FCFA5E6F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13" name="Picture 4" descr="IBM Cloud Pak for Integration | IBM CP4I">
            <a:extLst>
              <a:ext uri="{FF2B5EF4-FFF2-40B4-BE49-F238E27FC236}">
                <a16:creationId xmlns:a16="http://schemas.microsoft.com/office/drawing/2014/main" id="{37D81011-5427-0DB7-FD31-C250D9FE69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3B428E-108E-F1E3-0FBE-86AAE30904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8385949-E623-6979-7AA9-3E7F4F590915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4E6785E-299C-5AF1-A141-B6D5047A6C4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325758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835DC4D-9BA8-FB6E-4CA9-3C32A54B0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1231023-C0FB-CA62-81A9-7618320179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C0E148-FD7E-1B62-B04A-C63518DA8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448ED7-67BE-0FDD-E098-1E052A64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F0DF56-D0A5-E845-73AD-D7CCE66A5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41C868-13D7-5646-D423-799A86729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C9CE162-7C8B-9F38-2958-9CE73E32A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BSEG/Tim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BSEG/Times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A6B2BB7E-8523-AEC2-F789-55828C914A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F9C777A7-C169-24AA-1C12-D2E86FED2D42}"/>
              </a:ext>
            </a:extLst>
          </p:cNvPr>
          <p:cNvSpPr/>
          <p:nvPr/>
        </p:nvSpPr>
        <p:spPr>
          <a:xfrm>
            <a:off x="211275" y="6055112"/>
            <a:ext cx="1831762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Gerentes/</a:t>
            </a:r>
            <a:r>
              <a:rPr lang="pt-BR" sz="1050" dirty="0" err="1">
                <a:solidFill>
                  <a:schemeClr val="tx1"/>
                </a:solidFill>
              </a:rPr>
              <a:t>Cordenador</a:t>
            </a:r>
            <a:r>
              <a:rPr lang="pt-BR" sz="1050" dirty="0">
                <a:solidFill>
                  <a:schemeClr val="tx1"/>
                </a:solidFill>
              </a:rPr>
              <a:t>: 3ª e 5a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Analistas: 5a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18E627-9EBD-7AD1-4DED-E8842CE6E427}"/>
              </a:ext>
            </a:extLst>
          </p:cNvPr>
          <p:cNvSpPr/>
          <p:nvPr/>
        </p:nvSpPr>
        <p:spPr>
          <a:xfrm>
            <a:off x="92597" y="1328207"/>
            <a:ext cx="11887200" cy="4563264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42D5F7-0137-2B66-9E01-F35C358FA2B3}"/>
              </a:ext>
            </a:extLst>
          </p:cNvPr>
          <p:cNvSpPr/>
          <p:nvPr/>
        </p:nvSpPr>
        <p:spPr>
          <a:xfrm>
            <a:off x="6057418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 err="1">
                <a:solidFill>
                  <a:schemeClr val="tx1"/>
                </a:solidFill>
              </a:rPr>
              <a:t>DataPower</a:t>
            </a:r>
            <a:r>
              <a:rPr lang="pt-BR" sz="9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0580DE3-29C4-C761-679F-91FAD671FC1C}"/>
              </a:ext>
            </a:extLst>
          </p:cNvPr>
          <p:cNvSpPr/>
          <p:nvPr/>
        </p:nvSpPr>
        <p:spPr>
          <a:xfrm>
            <a:off x="7247600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APIC, </a:t>
            </a:r>
            <a:r>
              <a:rPr lang="pt-BR" sz="900" dirty="0" err="1">
                <a:solidFill>
                  <a:schemeClr val="tx1"/>
                </a:solidFill>
              </a:rPr>
              <a:t>Axway</a:t>
            </a:r>
            <a:r>
              <a:rPr lang="pt-BR" sz="900" dirty="0">
                <a:solidFill>
                  <a:schemeClr val="tx1"/>
                </a:solidFill>
              </a:rPr>
              <a:t>/APIM </a:t>
            </a:r>
          </a:p>
          <a:p>
            <a:pPr algn="ctr"/>
            <a:r>
              <a:rPr lang="pt-BR" sz="900" dirty="0" err="1">
                <a:solidFill>
                  <a:schemeClr val="tx1"/>
                </a:solidFill>
              </a:rPr>
              <a:t>Confluent</a:t>
            </a:r>
            <a:r>
              <a:rPr lang="pt-BR" sz="900" dirty="0">
                <a:solidFill>
                  <a:schemeClr val="tx1"/>
                </a:solidFill>
              </a:rPr>
              <a:t>, Event </a:t>
            </a:r>
            <a:r>
              <a:rPr lang="pt-BR" sz="900" dirty="0" err="1">
                <a:solidFill>
                  <a:schemeClr val="tx1"/>
                </a:solidFill>
              </a:rPr>
              <a:t>Stream</a:t>
            </a:r>
            <a:endParaRPr lang="pt-BR" sz="9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CB1BCC-3298-640E-C734-00CE1EE880D6}"/>
              </a:ext>
            </a:extLst>
          </p:cNvPr>
          <p:cNvSpPr/>
          <p:nvPr/>
        </p:nvSpPr>
        <p:spPr>
          <a:xfrm>
            <a:off x="4861774" y="2655746"/>
            <a:ext cx="1093428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MQ &amp; AC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EF94B1-FA67-BAC2-0CD9-973C43B60601}"/>
              </a:ext>
            </a:extLst>
          </p:cNvPr>
          <p:cNvSpPr/>
          <p:nvPr/>
        </p:nvSpPr>
        <p:spPr>
          <a:xfrm>
            <a:off x="3721721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WAS/</a:t>
            </a:r>
            <a:r>
              <a:rPr lang="pt-BR" sz="1000" dirty="0" err="1">
                <a:solidFill>
                  <a:schemeClr val="tx1"/>
                </a:solidFill>
              </a:rPr>
              <a:t>Liberty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9196541-426B-E677-E3E5-E20AA8CB95A1}"/>
              </a:ext>
            </a:extLst>
          </p:cNvPr>
          <p:cNvSpPr/>
          <p:nvPr/>
        </p:nvSpPr>
        <p:spPr>
          <a:xfrm>
            <a:off x="8442025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DevOp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4852262-370D-1FD6-AE6B-D9B52F6EB189}"/>
              </a:ext>
            </a:extLst>
          </p:cNvPr>
          <p:cNvSpPr/>
          <p:nvPr/>
        </p:nvSpPr>
        <p:spPr>
          <a:xfrm>
            <a:off x="9611159" y="1566871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lauci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7C16F0B-9C41-D1D7-F838-DAA4958C6C27}"/>
              </a:ext>
            </a:extLst>
          </p:cNvPr>
          <p:cNvSpPr/>
          <p:nvPr/>
        </p:nvSpPr>
        <p:spPr>
          <a:xfrm>
            <a:off x="3721720" y="3618134"/>
            <a:ext cx="3429125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José Guilherme 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17A15290-8688-7169-951E-4FCAA46962D3}"/>
              </a:ext>
            </a:extLst>
          </p:cNvPr>
          <p:cNvCxnSpPr>
            <a:cxnSpLocks/>
            <a:stCxn id="142" idx="2"/>
            <a:endCxn id="55" idx="0"/>
          </p:cNvCxnSpPr>
          <p:nvPr/>
        </p:nvCxnSpPr>
        <p:spPr>
          <a:xfrm flipH="1">
            <a:off x="4262601" y="2201976"/>
            <a:ext cx="540880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1DE76736-C0BF-E4B3-9EAF-3EFE201749D4}"/>
              </a:ext>
            </a:extLst>
          </p:cNvPr>
          <p:cNvCxnSpPr>
            <a:cxnSpLocks/>
            <a:stCxn id="142" idx="2"/>
            <a:endCxn id="31" idx="0"/>
          </p:cNvCxnSpPr>
          <p:nvPr/>
        </p:nvCxnSpPr>
        <p:spPr>
          <a:xfrm>
            <a:off x="4803481" y="2201976"/>
            <a:ext cx="605007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E3B7BEC-D2D3-8A8F-B058-557051867339}"/>
              </a:ext>
            </a:extLst>
          </p:cNvPr>
          <p:cNvCxnSpPr>
            <a:cxnSpLocks/>
            <a:stCxn id="142" idx="2"/>
            <a:endCxn id="19" idx="0"/>
          </p:cNvCxnSpPr>
          <p:nvPr/>
        </p:nvCxnSpPr>
        <p:spPr>
          <a:xfrm>
            <a:off x="4803481" y="2201976"/>
            <a:ext cx="1800651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1C0057C7-F2FB-07B0-E9A5-7B00F8130AAE}"/>
              </a:ext>
            </a:extLst>
          </p:cNvPr>
          <p:cNvSpPr/>
          <p:nvPr/>
        </p:nvSpPr>
        <p:spPr>
          <a:xfrm>
            <a:off x="1393188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EOC 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Eng. Ope Cloud (AWS/Azure)</a:t>
            </a:r>
          </a:p>
          <a:p>
            <a:pPr algn="ctr"/>
            <a:r>
              <a:rPr lang="pt-BR" sz="1000" dirty="0" err="1">
                <a:solidFill>
                  <a:schemeClr val="tx1"/>
                </a:solidFill>
              </a:rPr>
              <a:t>Ansible</a:t>
            </a:r>
            <a:r>
              <a:rPr lang="pt-BR" sz="1000" dirty="0">
                <a:solidFill>
                  <a:schemeClr val="tx1"/>
                </a:solidFill>
              </a:rPr>
              <a:t>/</a:t>
            </a:r>
            <a:r>
              <a:rPr lang="pt-BR" sz="1000" dirty="0" err="1">
                <a:solidFill>
                  <a:schemeClr val="tx1"/>
                </a:solidFill>
              </a:rPr>
              <a:t>Terraform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ED312FC-8FFA-4B27-51E0-6FEBD76AF24F}"/>
              </a:ext>
            </a:extLst>
          </p:cNvPr>
          <p:cNvSpPr/>
          <p:nvPr/>
        </p:nvSpPr>
        <p:spPr>
          <a:xfrm>
            <a:off x="1393188" y="3622275"/>
            <a:ext cx="2272261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kot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034B72B-9529-E982-1D02-3CFD5A6DCCF3}"/>
              </a:ext>
            </a:extLst>
          </p:cNvPr>
          <p:cNvSpPr/>
          <p:nvPr/>
        </p:nvSpPr>
        <p:spPr>
          <a:xfrm>
            <a:off x="7247600" y="433316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Thiago (RJ)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ABF6A47-A341-6CC1-BD9D-D48FDBCF3546}"/>
              </a:ext>
            </a:extLst>
          </p:cNvPr>
          <p:cNvSpPr/>
          <p:nvPr/>
        </p:nvSpPr>
        <p:spPr>
          <a:xfrm>
            <a:off x="3721721" y="4333166"/>
            <a:ext cx="3443232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cio Pupo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6548809-DF59-0AD6-6673-E19BA0A7D96D}"/>
              </a:ext>
            </a:extLst>
          </p:cNvPr>
          <p:cNvSpPr/>
          <p:nvPr/>
        </p:nvSpPr>
        <p:spPr>
          <a:xfrm>
            <a:off x="8442025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?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55149D6-225F-07E1-5999-9E71DDD537DC}"/>
              </a:ext>
            </a:extLst>
          </p:cNvPr>
          <p:cNvSpPr/>
          <p:nvPr/>
        </p:nvSpPr>
        <p:spPr>
          <a:xfrm>
            <a:off x="1393188" y="4333166"/>
            <a:ext cx="2272263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Deny Tanizaki (PR)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4F60FB2-DD88-005E-A318-D1888765B8B0}"/>
              </a:ext>
            </a:extLst>
          </p:cNvPr>
          <p:cNvSpPr/>
          <p:nvPr/>
        </p:nvSpPr>
        <p:spPr>
          <a:xfrm>
            <a:off x="6057418" y="503805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Marcelo Bastos (RJ) / Jeff (PR) / Nelson (RJ)</a:t>
            </a:r>
            <a:endParaRPr lang="en-US" sz="9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E9F617A-4F5E-F068-55C9-990F0798A194}"/>
              </a:ext>
            </a:extLst>
          </p:cNvPr>
          <p:cNvSpPr/>
          <p:nvPr/>
        </p:nvSpPr>
        <p:spPr>
          <a:xfrm>
            <a:off x="7247600" y="5038056"/>
            <a:ext cx="1093428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Jeferson (RJ)  &amp; </a:t>
            </a:r>
            <a:r>
              <a:rPr lang="pt-BR" sz="900" dirty="0" err="1">
                <a:solidFill>
                  <a:schemeClr val="tx1"/>
                </a:solidFill>
                <a:highlight>
                  <a:srgbClr val="00FF00"/>
                </a:highlight>
              </a:rPr>
              <a:t>Savacini</a:t>
            </a:r>
            <a:r>
              <a:rPr lang="pt-BR" sz="900" dirty="0">
                <a:solidFill>
                  <a:schemeClr val="tx1"/>
                </a:solidFill>
                <a:highlight>
                  <a:srgbClr val="00FF00"/>
                </a:highlight>
              </a:rPr>
              <a:t> (RJ)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26182A3-727B-C7BB-9046-BB3A8E720723}"/>
              </a:ext>
            </a:extLst>
          </p:cNvPr>
          <p:cNvSpPr/>
          <p:nvPr/>
        </p:nvSpPr>
        <p:spPr>
          <a:xfrm>
            <a:off x="3721720" y="5038056"/>
            <a:ext cx="223348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Fabio Lacerda (RJ) &amp; Denis Ricardo (RJ) &amp;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Augusto Alves Gonçalves (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C37A9F2-AE5E-EEAF-0AE1-9B4225A69702}"/>
              </a:ext>
            </a:extLst>
          </p:cNvPr>
          <p:cNvSpPr/>
          <p:nvPr/>
        </p:nvSpPr>
        <p:spPr>
          <a:xfrm>
            <a:off x="8442025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io Celso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D0B2D417-C6F6-8A0A-55DB-D3FC7F42D680}"/>
              </a:ext>
            </a:extLst>
          </p:cNvPr>
          <p:cNvSpPr/>
          <p:nvPr/>
        </p:nvSpPr>
        <p:spPr>
          <a:xfrm>
            <a:off x="1393188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Rogério (Moranguinho) (PR) &amp; Jose Vitor (RJ)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21614B8-FF18-9EEA-E55A-07DD5F0B83F5}"/>
              </a:ext>
            </a:extLst>
          </p:cNvPr>
          <p:cNvSpPr/>
          <p:nvPr/>
        </p:nvSpPr>
        <p:spPr>
          <a:xfrm>
            <a:off x="2583691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“</a:t>
            </a:r>
            <a:r>
              <a:rPr lang="pt-BR" sz="1000" dirty="0" err="1">
                <a:solidFill>
                  <a:schemeClr val="tx1"/>
                </a:solidFill>
              </a:rPr>
              <a:t>FinOps</a:t>
            </a:r>
            <a:r>
              <a:rPr lang="pt-BR" sz="1000" dirty="0">
                <a:solidFill>
                  <a:schemeClr val="tx1"/>
                </a:solidFill>
              </a:rPr>
              <a:t>”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CCCD29E-3C88-53F9-1AA7-382C79D009A5}"/>
              </a:ext>
            </a:extLst>
          </p:cNvPr>
          <p:cNvSpPr/>
          <p:nvPr/>
        </p:nvSpPr>
        <p:spPr>
          <a:xfrm>
            <a:off x="2583691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Marcio Leitão (RJ) (Turbo) &amp; André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Luis</a:t>
            </a:r>
            <a:r>
              <a:rPr lang="pt-BR" sz="1000">
                <a:solidFill>
                  <a:schemeClr val="tx1"/>
                </a:solidFill>
                <a:highlight>
                  <a:srgbClr val="00FF00"/>
                </a:highlight>
              </a:rPr>
              <a:t> (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J)(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Cloudability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)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F72ADF4D-C8D2-0E23-356C-948ECB95A497}"/>
              </a:ext>
            </a:extLst>
          </p:cNvPr>
          <p:cNvCxnSpPr>
            <a:cxnSpLocks/>
            <a:stCxn id="75" idx="2"/>
            <a:endCxn id="61" idx="0"/>
          </p:cNvCxnSpPr>
          <p:nvPr/>
        </p:nvCxnSpPr>
        <p:spPr>
          <a:xfrm flipH="1">
            <a:off x="8982905" y="2201976"/>
            <a:ext cx="1169134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3527BD3-FDDA-B988-C95B-82035F3542C3}"/>
              </a:ext>
            </a:extLst>
          </p:cNvPr>
          <p:cNvSpPr/>
          <p:nvPr/>
        </p:nvSpPr>
        <p:spPr>
          <a:xfrm>
            <a:off x="4262601" y="1566871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lória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D6D82E50-5685-E757-4CE6-EFCD7FE3BD09}"/>
              </a:ext>
            </a:extLst>
          </p:cNvPr>
          <p:cNvCxnSpPr>
            <a:cxnSpLocks/>
            <a:stCxn id="142" idx="2"/>
            <a:endCxn id="22" idx="0"/>
          </p:cNvCxnSpPr>
          <p:nvPr/>
        </p:nvCxnSpPr>
        <p:spPr>
          <a:xfrm>
            <a:off x="4803481" y="2201976"/>
            <a:ext cx="2990833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D2F969D-A546-A094-DB9A-FF23A4C62084}"/>
              </a:ext>
            </a:extLst>
          </p:cNvPr>
          <p:cNvSpPr/>
          <p:nvPr/>
        </p:nvSpPr>
        <p:spPr>
          <a:xfrm>
            <a:off x="9611160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Arquitetura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B20FE88-FA7A-A635-7873-8BDB21F57077}"/>
              </a:ext>
            </a:extLst>
          </p:cNvPr>
          <p:cNvSpPr/>
          <p:nvPr/>
        </p:nvSpPr>
        <p:spPr>
          <a:xfrm>
            <a:off x="9611160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Alexandre Gonçalves Vanderlei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3908018D-CBD9-0E26-A9D3-C169C2FEC982}"/>
              </a:ext>
            </a:extLst>
          </p:cNvPr>
          <p:cNvCxnSpPr>
            <a:cxnSpLocks/>
            <a:stCxn id="142" idx="2"/>
            <a:endCxn id="98" idx="0"/>
          </p:cNvCxnSpPr>
          <p:nvPr/>
        </p:nvCxnSpPr>
        <p:spPr>
          <a:xfrm flipH="1">
            <a:off x="1934068" y="2201976"/>
            <a:ext cx="2869413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BC2D600-A729-FCDE-7DF6-DDEEF2E29D52}"/>
              </a:ext>
            </a:extLst>
          </p:cNvPr>
          <p:cNvCxnSpPr>
            <a:cxnSpLocks/>
            <a:stCxn id="75" idx="2"/>
            <a:endCxn id="156" idx="0"/>
          </p:cNvCxnSpPr>
          <p:nvPr/>
        </p:nvCxnSpPr>
        <p:spPr>
          <a:xfrm>
            <a:off x="10152039" y="2201976"/>
            <a:ext cx="1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0751C6D-1009-271C-91A6-A9B5502AA77F}"/>
              </a:ext>
            </a:extLst>
          </p:cNvPr>
          <p:cNvSpPr/>
          <p:nvPr/>
        </p:nvSpPr>
        <p:spPr>
          <a:xfrm>
            <a:off x="10758406" y="2655745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Atualizaçào</a:t>
            </a:r>
            <a:r>
              <a:rPr lang="pt-BR" sz="1000" dirty="0">
                <a:solidFill>
                  <a:schemeClr val="tx1"/>
                </a:solidFill>
              </a:rPr>
              <a:t> Tecnológica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15CB7E86-AF4E-C64F-CDB5-02EA605C13DE}"/>
              </a:ext>
            </a:extLst>
          </p:cNvPr>
          <p:cNvCxnSpPr>
            <a:cxnSpLocks/>
            <a:stCxn id="75" idx="2"/>
            <a:endCxn id="173" idx="0"/>
          </p:cNvCxnSpPr>
          <p:nvPr/>
        </p:nvCxnSpPr>
        <p:spPr>
          <a:xfrm>
            <a:off x="10152039" y="2201976"/>
            <a:ext cx="1147247" cy="453769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>
            <a:extLst>
              <a:ext uri="{FF2B5EF4-FFF2-40B4-BE49-F238E27FC236}">
                <a16:creationId xmlns:a16="http://schemas.microsoft.com/office/drawing/2014/main" id="{263A707A-22CF-742E-241C-6C68915340A0}"/>
              </a:ext>
            </a:extLst>
          </p:cNvPr>
          <p:cNvSpPr/>
          <p:nvPr/>
        </p:nvSpPr>
        <p:spPr>
          <a:xfrm>
            <a:off x="9611160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onald (RJ), Vitor  Braga (RJ), Savio (SP), </a:t>
            </a:r>
            <a:r>
              <a:rPr lang="pt-BR" sz="1000" dirty="0" err="1">
                <a:solidFill>
                  <a:schemeClr val="tx1"/>
                </a:solidFill>
                <a:highlight>
                  <a:srgbClr val="00FF00"/>
                </a:highlight>
              </a:rPr>
              <a:t>Erimar</a:t>
            </a:r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22DD5DFD-F8AB-BFDF-A21D-49A6D97CA00A}"/>
              </a:ext>
            </a:extLst>
          </p:cNvPr>
          <p:cNvSpPr/>
          <p:nvPr/>
        </p:nvSpPr>
        <p:spPr>
          <a:xfrm>
            <a:off x="10758406" y="433316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Elder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06EA4D10-515A-0EF0-381E-D8C215D311F4}"/>
              </a:ext>
            </a:extLst>
          </p:cNvPr>
          <p:cNvSpPr/>
          <p:nvPr/>
        </p:nvSpPr>
        <p:spPr>
          <a:xfrm>
            <a:off x="10758406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icardo Manzotti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BAB4BD-B02A-E23D-5885-1365248AF1D5}"/>
              </a:ext>
            </a:extLst>
          </p:cNvPr>
          <p:cNvSpPr/>
          <p:nvPr/>
        </p:nvSpPr>
        <p:spPr>
          <a:xfrm>
            <a:off x="208878" y="2655746"/>
            <a:ext cx="1081759" cy="917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</a:rPr>
              <a:t>FinOp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0F93375-7DBB-6DF4-A87D-D8846F7C9C40}"/>
              </a:ext>
            </a:extLst>
          </p:cNvPr>
          <p:cNvSpPr/>
          <p:nvPr/>
        </p:nvSpPr>
        <p:spPr>
          <a:xfrm>
            <a:off x="208878" y="5038056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Lucas Alvim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E178418-32D8-651D-09DD-C763A4CAC6A7}"/>
              </a:ext>
            </a:extLst>
          </p:cNvPr>
          <p:cNvSpPr/>
          <p:nvPr/>
        </p:nvSpPr>
        <p:spPr>
          <a:xfrm>
            <a:off x="208878" y="4343162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odrigo Wild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F182442-E5C2-8E95-F2BF-A7D98078207A}"/>
              </a:ext>
            </a:extLst>
          </p:cNvPr>
          <p:cNvSpPr/>
          <p:nvPr/>
        </p:nvSpPr>
        <p:spPr>
          <a:xfrm>
            <a:off x="208878" y="362227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Gilson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4ABB351-9138-F20D-6749-515CB7CBF7A6}"/>
              </a:ext>
            </a:extLst>
          </p:cNvPr>
          <p:cNvCxnSpPr>
            <a:cxnSpLocks/>
            <a:stCxn id="142" idx="2"/>
            <a:endCxn id="122" idx="0"/>
          </p:cNvCxnSpPr>
          <p:nvPr/>
        </p:nvCxnSpPr>
        <p:spPr>
          <a:xfrm flipH="1">
            <a:off x="3124571" y="2201976"/>
            <a:ext cx="1678910" cy="45377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2D73B495-1CBB-98B4-2986-938721B60E6F}"/>
              </a:ext>
            </a:extLst>
          </p:cNvPr>
          <p:cNvSpPr/>
          <p:nvPr/>
        </p:nvSpPr>
        <p:spPr>
          <a:xfrm>
            <a:off x="7254562" y="3618133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Vito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896B024-B160-DFAE-6EFA-58A555FF721B}"/>
              </a:ext>
            </a:extLst>
          </p:cNvPr>
          <p:cNvSpPr/>
          <p:nvPr/>
        </p:nvSpPr>
        <p:spPr>
          <a:xfrm>
            <a:off x="9611160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Fábio Alcantara (RJ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16D3482-6B83-25F2-6AD9-1EF097D90120}"/>
              </a:ext>
            </a:extLst>
          </p:cNvPr>
          <p:cNvSpPr/>
          <p:nvPr/>
        </p:nvSpPr>
        <p:spPr>
          <a:xfrm>
            <a:off x="10758406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Regiane Hoffman (SP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C626609-B35A-89FA-766A-BD9E6E80E551}"/>
              </a:ext>
            </a:extLst>
          </p:cNvPr>
          <p:cNvSpPr/>
          <p:nvPr/>
        </p:nvSpPr>
        <p:spPr>
          <a:xfrm>
            <a:off x="8442025" y="3616025"/>
            <a:ext cx="108175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highlight>
                  <a:srgbClr val="00FF00"/>
                </a:highlight>
              </a:rPr>
              <a:t>Lourival (PR)</a:t>
            </a:r>
            <a:endParaRPr lang="en-US" sz="10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577182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2DF95D-8C96-1C93-49DB-3641C2295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B53EEDC4-E815-C1A6-010D-E95EA64C7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B6D0C7-AE8F-98EA-C19A-314F2F43A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CF78D4-F2A3-FEE7-6066-C67833EA4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CC047C-58D5-CD46-DDED-D5F1366A2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9DCB2F-8B0C-5AB7-46CD-277F1A692B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63A3580-C56A-F59A-1A28-1083418D10A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5A5295-13B5-5F76-58A7-1B7A8FE275C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A8336F-B5C5-C4F9-A78C-F0354BBC511A}"/>
              </a:ext>
            </a:extLst>
          </p:cNvPr>
          <p:cNvSpPr/>
          <p:nvPr/>
        </p:nvSpPr>
        <p:spPr>
          <a:xfrm>
            <a:off x="30649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AF2B280-9195-8646-2D76-AE846F459F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S &amp;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berty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WAS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6/06/2025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C3DBE9C-9D51-8719-EC3F-C95A74DADCD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ADB682-8B5C-A757-1E58-6CE5B06CBAB1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5CE9A44-16C4-B179-F706-0AA68149E37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5DA6645-7A31-F1A2-871A-866C84F9110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EFDA5D6-5719-BA13-7538-7E7B4700EA5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gestores 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1EB4022-083F-2999-1AD9-F69A14869E2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A4506B7-E442-869C-F873-E644E24A954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1F896A0-07C9-71D3-38BD-CA317E3AB3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3CBF09F9-E761-ED6E-3190-681F38E900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10C26890-272E-0E83-4F48-5D54E463162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AC90CBA3-ECA8-065E-8E9D-0B51EDCFB98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F80FBCB6-6A5B-4A23-B803-4DACD38E1FF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657542BE-29E8-5E1C-8BD7-8DD72AB47FC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DD2F3827-7E00-E7C0-FB0B-000AC205D2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B5784029-B01D-3A39-2C65-ADD26AD0928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7EDC71F5-7790-1D58-E77E-E7364907B681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20D24D6-36D5-015C-DCA8-D14F27BD5E7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6BC2C75-A24B-9946-0399-E8D99FC6641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FFE2CD0-57D2-F05C-97F5-B5494210627B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F7E0266-8141-443B-858A-BE5FFB2939DB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eguradora se reestruturando / nov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DE6D95A-65CC-2027-54F7-1B89AFE6AB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AS Automation – Upgrade OC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E50D678-088E-471C-B114-0E1FF1F26E27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AS Automation – Upgrade OCP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WAS Automati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echado novos times de atendiment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r OKR e definir plano de aç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0A2372A-D3D8-FA6B-BF97-8607E6023AF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BF18AFC5-65C6-F25C-661C-7CE460ADC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2EEF20-0646-D0D4-67EB-BA011E60969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FF2A720A-DC55-9602-C633-23ABEB2ADF1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730BE98A-C657-D952-2A20-BB6E8A92E53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008286EE-C736-6913-19A2-2B5AC63B8B1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0BD04C17-701E-6BF9-47D7-6011AE6FC25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38D99D30-1FC8-6CC0-E0FD-75DB7605701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02EB30B6-8BE3-7D1E-5E76-FE5782CB473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1" name="Title 1">
            <a:extLst>
              <a:ext uri="{FF2B5EF4-FFF2-40B4-BE49-F238E27FC236}">
                <a16:creationId xmlns:a16="http://schemas.microsoft.com/office/drawing/2014/main" id="{D63CF7E5-50D0-1E58-0C27-B388754D210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812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9A8FE51-CA78-501D-33B8-BA642E92D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0F71B1A8-898D-DD1D-B828-B61EDE384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EF8D8D-DE2F-C4C8-8D57-AE541EF5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418D03-99BB-7F8C-09F9-A09D364BF8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A068AF-2124-3763-09C5-E3DDC3A90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7FA4BA-46DE-5446-912F-4EBD45942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54FF6FA-AAAE-7504-B4B5-BC896D04549F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BF445AC-7222-C632-7FCF-4F35C89A2B83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91F266-AFCF-3D7F-3E00-CB5B80144D99}"/>
              </a:ext>
            </a:extLst>
          </p:cNvPr>
          <p:cNvSpPr/>
          <p:nvPr/>
        </p:nvSpPr>
        <p:spPr>
          <a:xfrm>
            <a:off x="30649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D771C5-33D7-5DFC-066C-05C774741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S &amp; </a:t>
            </a:r>
            <a:r>
              <a:rPr lang="pt-BR" sz="1400" b="1" dirty="0" err="1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berty</a:t>
            </a:r>
            <a:r>
              <a:rPr lang="pt-BR" sz="1400" b="1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WAS Automati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ória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 Guilherme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io Puppo /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erta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Deni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4/07/2025</a:t>
            </a:r>
          </a:p>
          <a:p>
            <a:pPr marL="0" lvl="2" algn="ctr"/>
            <a:r>
              <a:rPr lang="pt-BR" sz="1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4/07/2026</a:t>
            </a:r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3D0D04C-4459-98B6-CC69-A5DE809ED8AB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AFFE293-9289-B3DD-FA61-D8A69579E91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E6F23EA-D652-1692-1017-0F5E7E1EDA7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7FA6E94-A11D-E16A-0349-A8AF78850EAC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8CE7E6A-BE1C-7860-1389-3016B15B1CE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 WAS Automation (TBC proxy)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7101AD-9C77-B3E6-78B3-38D4080C5AB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DDE5FA7-373B-8CA5-793D-F921F55C31D2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BC0438C-E2A9-97B2-E4D2-04EB67BF5256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8" name="Straight Arrow Connector 4">
                <a:extLst>
                  <a:ext uri="{FF2B5EF4-FFF2-40B4-BE49-F238E27FC236}">
                    <a16:creationId xmlns:a16="http://schemas.microsoft.com/office/drawing/2014/main" id="{A02EC0FC-0582-713D-63AB-676445C0A5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Oval 6">
                <a:extLst>
                  <a:ext uri="{FF2B5EF4-FFF2-40B4-BE49-F238E27FC236}">
                    <a16:creationId xmlns:a16="http://schemas.microsoft.com/office/drawing/2014/main" id="{7DD4280A-7C62-E5AA-F164-5B2AEBFBAD4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6">
                <a:extLst>
                  <a:ext uri="{FF2B5EF4-FFF2-40B4-BE49-F238E27FC236}">
                    <a16:creationId xmlns:a16="http://schemas.microsoft.com/office/drawing/2014/main" id="{6CF3A604-79D7-98E3-2C44-C3A3D8C20C5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A013AF4B-0338-07FB-A979-56980827DA4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19BDCEE3-27C2-1B79-209E-5A86D66636C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9BFC92F0-A767-52EC-7C3E-A36CA9E9C6C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F47EAA47-9D55-E5E1-9012-3097E665D3C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7" name="Oval 6">
                <a:extLst>
                  <a:ext uri="{FF2B5EF4-FFF2-40B4-BE49-F238E27FC236}">
                    <a16:creationId xmlns:a16="http://schemas.microsoft.com/office/drawing/2014/main" id="{EACF3D6D-D55A-23D2-BAB3-5F388A25B56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1BCE9F3-A72C-7395-D9D6-6A47E8B862A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33F2985-9694-9C48-1C55-E5E85A1D82A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5F4BA83-E17E-424B-4570-4AE08FCAE923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683E50E-DCEE-892B-4044-47D2836ECAC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B73FEA9-92F1-B43D-70E7-D69A0B9253A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05A42FB-ACCF-FF02-1C6A-9A5D06AA4E3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D97855A-3345-86A4-97B3-9443E53DF0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05FDC7BB-52BD-6FFE-92CE-65CB3F9FF3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DB54C160-7948-7E4B-762B-3EFC589491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042B6B3-D0CB-176E-CB28-2579920E27F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F51273A-3979-CA24-4E64-B025769819A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2E73067-8CFF-6038-CDA2-FE6C30BA6E5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F95A05A-C82A-00B6-55BB-BB0FFA9E335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1099CBC0-E1E8-7F8B-B2A0-990305534D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>
                      <a:solidFill>
                        <a:srgbClr val="1D3649"/>
                      </a:solidFill>
                    </a:rPr>
                    <a:t>Dez/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0AF2D72A-6E76-692F-808B-D5076DD2E5B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1" name="Title 1">
            <a:extLst>
              <a:ext uri="{FF2B5EF4-FFF2-40B4-BE49-F238E27FC236}">
                <a16:creationId xmlns:a16="http://schemas.microsoft.com/office/drawing/2014/main" id="{19A2869B-4C47-04FF-102C-6CD03448EBF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642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00</TotalTime>
  <Words>2234</Words>
  <Application>Microsoft Office PowerPoint</Application>
  <PresentationFormat>Widescreen</PresentationFormat>
  <Paragraphs>744</Paragraphs>
  <Slides>30</Slides>
  <Notes>4</Notes>
  <HiddenSlides>5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2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inherit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PowerPoint Presentation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I         Activities CP4I</vt:lpstr>
      <vt:lpstr>BSEG/Times         BSEG/Tim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Exemplos de uso de licenças nos Cloud Paks            CSM license usag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3</cp:revision>
  <dcterms:created xsi:type="dcterms:W3CDTF">2023-12-08T17:08:25Z</dcterms:created>
  <dcterms:modified xsi:type="dcterms:W3CDTF">2025-07-25T11:31:15Z</dcterms:modified>
</cp:coreProperties>
</file>